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85" r:id="rId5"/>
    <p:sldId id="286" r:id="rId6"/>
    <p:sldId id="294" r:id="rId7"/>
    <p:sldId id="287" r:id="rId8"/>
    <p:sldId id="288" r:id="rId9"/>
    <p:sldId id="289" r:id="rId10"/>
    <p:sldId id="290" r:id="rId11"/>
    <p:sldId id="291" r:id="rId12"/>
    <p:sldId id="292" r:id="rId13"/>
    <p:sldId id="293" r:id="rId14"/>
  </p:sldIdLst>
  <p:sldSz cx="9144000" cy="5143500" type="screen16x9"/>
  <p:notesSz cx="6858000" cy="9144000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4294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68589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0288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37178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714729" algn="l" defTabSz="685891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057674" algn="l" defTabSz="685891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400620" algn="l" defTabSz="685891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2743566" algn="l" defTabSz="685891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13">
          <p15:clr>
            <a:srgbClr val="A4A3A4"/>
          </p15:clr>
        </p15:guide>
        <p15:guide id="2" orient="horz" pos="1230">
          <p15:clr>
            <a:srgbClr val="A4A3A4"/>
          </p15:clr>
        </p15:guide>
        <p15:guide id="3" orient="horz" pos="4224">
          <p15:clr>
            <a:srgbClr val="A4A3A4"/>
          </p15:clr>
        </p15:guide>
        <p15:guide id="4" orient="horz" pos="663">
          <p15:clr>
            <a:srgbClr val="A4A3A4"/>
          </p15:clr>
        </p15:guide>
        <p15:guide id="5" orient="horz" pos="1049">
          <p15:clr>
            <a:srgbClr val="A4A3A4"/>
          </p15:clr>
        </p15:guide>
        <p15:guide id="6" orient="horz" pos="476">
          <p15:clr>
            <a:srgbClr val="A4A3A4"/>
          </p15:clr>
        </p15:guide>
        <p15:guide id="7" orient="horz" pos="4065">
          <p15:clr>
            <a:srgbClr val="A4A3A4"/>
          </p15:clr>
        </p15:guide>
        <p15:guide id="8" pos="3839">
          <p15:clr>
            <a:srgbClr val="A4A3A4"/>
          </p15:clr>
        </p15:guide>
        <p15:guide id="9" pos="393">
          <p15:clr>
            <a:srgbClr val="A4A3A4"/>
          </p15:clr>
        </p15:guide>
        <p15:guide id="10" pos="7285">
          <p15:clr>
            <a:srgbClr val="A4A3A4"/>
          </p15:clr>
        </p15:guide>
        <p15:guide id="11">
          <p15:clr>
            <a:srgbClr val="A4A3A4"/>
          </p15:clr>
        </p15:guide>
        <p15:guide id="12" pos="2206">
          <p15:clr>
            <a:srgbClr val="A4A3A4"/>
          </p15:clr>
        </p15:guide>
        <p15:guide id="13" pos="4142">
          <p15:clr>
            <a:srgbClr val="A4A3A4"/>
          </p15:clr>
        </p15:guide>
        <p15:guide id="14" orient="horz" pos="685">
          <p15:clr>
            <a:srgbClr val="A4A3A4"/>
          </p15:clr>
        </p15:guide>
        <p15:guide id="15" orient="horz" pos="923">
          <p15:clr>
            <a:srgbClr val="A4A3A4"/>
          </p15:clr>
        </p15:guide>
        <p15:guide id="16" orient="horz" pos="3168">
          <p15:clr>
            <a:srgbClr val="A4A3A4"/>
          </p15:clr>
        </p15:guide>
        <p15:guide id="17" orient="horz" pos="497">
          <p15:clr>
            <a:srgbClr val="A4A3A4"/>
          </p15:clr>
        </p15:guide>
        <p15:guide id="18" orient="horz" pos="787">
          <p15:clr>
            <a:srgbClr val="A4A3A4"/>
          </p15:clr>
        </p15:guide>
        <p15:guide id="19" orient="horz" pos="357">
          <p15:clr>
            <a:srgbClr val="A4A3A4"/>
          </p15:clr>
        </p15:guide>
        <p15:guide id="20" orient="horz" pos="3049">
          <p15:clr>
            <a:srgbClr val="A4A3A4"/>
          </p15:clr>
        </p15:guide>
        <p15:guide id="21" pos="2880">
          <p15:clr>
            <a:srgbClr val="A4A3A4"/>
          </p15:clr>
        </p15:guide>
        <p15:guide id="22" pos="295">
          <p15:clr>
            <a:srgbClr val="A4A3A4"/>
          </p15:clr>
        </p15:guide>
        <p15:guide id="23" pos="5465">
          <p15:clr>
            <a:srgbClr val="A4A3A4"/>
          </p15:clr>
        </p15:guide>
        <p15:guide id="24" pos="1655">
          <p15:clr>
            <a:srgbClr val="A4A3A4"/>
          </p15:clr>
        </p15:guide>
        <p15:guide id="25" pos="31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00"/>
    <a:srgbClr val="003344"/>
    <a:srgbClr val="FF7A00"/>
    <a:srgbClr val="003C00"/>
    <a:srgbClr val="666666"/>
    <a:srgbClr val="4E2600"/>
    <a:srgbClr val="002266"/>
    <a:srgbClr val="551155"/>
    <a:srgbClr val="992222"/>
    <a:srgbClr val="DD44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174" autoAdjust="0"/>
    <p:restoredTop sz="93108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1186" y="67"/>
      </p:cViewPr>
      <p:guideLst>
        <p:guide orient="horz" pos="913"/>
        <p:guide orient="horz" pos="1230"/>
        <p:guide orient="horz" pos="4224"/>
        <p:guide orient="horz" pos="663"/>
        <p:guide orient="horz" pos="1049"/>
        <p:guide orient="horz" pos="476"/>
        <p:guide orient="horz" pos="4065"/>
        <p:guide pos="3839"/>
        <p:guide pos="393"/>
        <p:guide pos="7285"/>
        <p:guide/>
        <p:guide pos="2206"/>
        <p:guide pos="4142"/>
        <p:guide orient="horz" pos="685"/>
        <p:guide orient="horz" pos="923"/>
        <p:guide orient="horz" pos="3168"/>
        <p:guide orient="horz" pos="497"/>
        <p:guide orient="horz" pos="787"/>
        <p:guide orient="horz" pos="357"/>
        <p:guide orient="horz" pos="3049"/>
        <p:guide pos="2880"/>
        <p:guide pos="295"/>
        <p:guide pos="5465"/>
        <p:guide pos="1655"/>
        <p:guide pos="31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-1884" y="-7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2D1288-E134-4E42-87C0-153634E250D2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36E1B8AF-F21E-47CB-BAAF-C9F2A9B6BA83}">
      <dgm:prSet/>
      <dgm:spPr/>
      <dgm:t>
        <a:bodyPr/>
        <a:lstStyle/>
        <a:p>
          <a:pPr rtl="0"/>
          <a:r>
            <a:rPr lang="en-US" b="0" dirty="0" smtClean="0"/>
            <a:t>Process metrics like Cost </a:t>
          </a:r>
          <a:r>
            <a:rPr lang="en-US" b="0" dirty="0" smtClean="0"/>
            <a:t>performance does not translate to quality</a:t>
          </a:r>
          <a:endParaRPr lang="en-US" dirty="0"/>
        </a:p>
      </dgm:t>
    </dgm:pt>
    <dgm:pt modelId="{4551C203-9885-476E-BFE8-334B01FC9042}" type="parTrans" cxnId="{1BB98ADC-9ACB-4A61-B87D-DFC1C894FBC4}">
      <dgm:prSet/>
      <dgm:spPr/>
      <dgm:t>
        <a:bodyPr/>
        <a:lstStyle/>
        <a:p>
          <a:endParaRPr lang="en-US"/>
        </a:p>
      </dgm:t>
    </dgm:pt>
    <dgm:pt modelId="{EB32494E-FE86-4094-9A24-03F11B5809ED}" type="sibTrans" cxnId="{1BB98ADC-9ACB-4A61-B87D-DFC1C894FBC4}">
      <dgm:prSet/>
      <dgm:spPr/>
      <dgm:t>
        <a:bodyPr/>
        <a:lstStyle/>
        <a:p>
          <a:endParaRPr lang="en-US"/>
        </a:p>
      </dgm:t>
    </dgm:pt>
    <dgm:pt modelId="{BF227CC6-542E-4B87-81F0-365B28CCC7BF}">
      <dgm:prSet/>
      <dgm:spPr/>
      <dgm:t>
        <a:bodyPr/>
        <a:lstStyle/>
        <a:p>
          <a:pPr rtl="0"/>
          <a:r>
            <a:rPr lang="en-US" b="0" dirty="0" smtClean="0"/>
            <a:t>Training on development techniques may not lead to widespread adoption</a:t>
          </a:r>
          <a:endParaRPr lang="en-US" dirty="0"/>
        </a:p>
      </dgm:t>
    </dgm:pt>
    <dgm:pt modelId="{82E1D96E-2612-45A8-AB6A-A5B7A18C578A}" type="parTrans" cxnId="{C14172A8-57BB-43C5-91E1-6E8B31DA84FE}">
      <dgm:prSet/>
      <dgm:spPr/>
      <dgm:t>
        <a:bodyPr/>
        <a:lstStyle/>
        <a:p>
          <a:endParaRPr lang="en-US"/>
        </a:p>
      </dgm:t>
    </dgm:pt>
    <dgm:pt modelId="{8495F9E7-8F55-4FAC-A208-D4A4BA5243EB}" type="sibTrans" cxnId="{C14172A8-57BB-43C5-91E1-6E8B31DA84FE}">
      <dgm:prSet/>
      <dgm:spPr/>
      <dgm:t>
        <a:bodyPr/>
        <a:lstStyle/>
        <a:p>
          <a:endParaRPr lang="en-US"/>
        </a:p>
      </dgm:t>
    </dgm:pt>
    <dgm:pt modelId="{318F9C2C-DEB8-43FA-8912-71A9DBB2E2FB}">
      <dgm:prSet/>
      <dgm:spPr/>
      <dgm:t>
        <a:bodyPr/>
        <a:lstStyle/>
        <a:p>
          <a:pPr rtl="0"/>
          <a:r>
            <a:rPr lang="en-US" b="0" dirty="0" smtClean="0"/>
            <a:t>Insights in to an </a:t>
          </a:r>
          <a:r>
            <a:rPr lang="en-US" b="0" dirty="0" smtClean="0"/>
            <a:t>individual’s importance to a </a:t>
          </a:r>
          <a:r>
            <a:rPr lang="en-US" b="0" dirty="0" smtClean="0"/>
            <a:t>project were non-trivial</a:t>
          </a:r>
          <a:endParaRPr lang="en-US" dirty="0"/>
        </a:p>
      </dgm:t>
    </dgm:pt>
    <dgm:pt modelId="{4B1A7E34-61DC-49E8-A857-B66EA717C92B}" type="parTrans" cxnId="{F90D8848-F598-4D17-968A-E78ABAD8FEA6}">
      <dgm:prSet/>
      <dgm:spPr/>
      <dgm:t>
        <a:bodyPr/>
        <a:lstStyle/>
        <a:p>
          <a:endParaRPr lang="en-US"/>
        </a:p>
      </dgm:t>
    </dgm:pt>
    <dgm:pt modelId="{2659228F-95BB-46CF-B486-510AA6694720}" type="sibTrans" cxnId="{F90D8848-F598-4D17-968A-E78ABAD8FEA6}">
      <dgm:prSet/>
      <dgm:spPr/>
      <dgm:t>
        <a:bodyPr/>
        <a:lstStyle/>
        <a:p>
          <a:endParaRPr lang="en-US"/>
        </a:p>
      </dgm:t>
    </dgm:pt>
    <dgm:pt modelId="{6777811E-ABAC-47DE-9C0D-5B42E411ABA1}">
      <dgm:prSet/>
      <dgm:spPr/>
      <dgm:t>
        <a:bodyPr/>
        <a:lstStyle/>
        <a:p>
          <a:pPr rtl="0"/>
          <a:r>
            <a:rPr lang="en-US" b="0" smtClean="0"/>
            <a:t>Usage of tools does not automatically lead to increase in quality</a:t>
          </a:r>
          <a:endParaRPr lang="en-US"/>
        </a:p>
      </dgm:t>
    </dgm:pt>
    <dgm:pt modelId="{885F9010-B21F-4BCE-AA61-CF633E53AF22}" type="parTrans" cxnId="{EEBE2160-04F8-49FB-B4F4-F5078ADBAE9A}">
      <dgm:prSet/>
      <dgm:spPr/>
      <dgm:t>
        <a:bodyPr/>
        <a:lstStyle/>
        <a:p>
          <a:endParaRPr lang="en-US"/>
        </a:p>
      </dgm:t>
    </dgm:pt>
    <dgm:pt modelId="{2D08EA7E-9153-42D7-AECA-03D71F37E105}" type="sibTrans" cxnId="{EEBE2160-04F8-49FB-B4F4-F5078ADBAE9A}">
      <dgm:prSet/>
      <dgm:spPr/>
      <dgm:t>
        <a:bodyPr/>
        <a:lstStyle/>
        <a:p>
          <a:endParaRPr lang="en-US"/>
        </a:p>
      </dgm:t>
    </dgm:pt>
    <dgm:pt modelId="{2A8D141B-279C-4CE3-B669-1D3C6AFF040D}">
      <dgm:prSet/>
      <dgm:spPr/>
      <dgm:t>
        <a:bodyPr/>
        <a:lstStyle/>
        <a:p>
          <a:pPr rtl="0"/>
          <a:r>
            <a:rPr lang="en-US" b="0" smtClean="0"/>
            <a:t>Process Warnings: </a:t>
          </a:r>
          <a:r>
            <a:rPr lang="en-US" b="0" dirty="0" smtClean="0"/>
            <a:t>It’s simply too late to fix!</a:t>
          </a:r>
          <a:endParaRPr lang="en-US" dirty="0"/>
        </a:p>
      </dgm:t>
    </dgm:pt>
    <dgm:pt modelId="{F7E7FB4B-170E-4C82-B913-9023E5DAFF6E}" type="parTrans" cxnId="{A8047378-51FE-43F5-AEA3-4A9F9322F8F1}">
      <dgm:prSet/>
      <dgm:spPr/>
      <dgm:t>
        <a:bodyPr/>
        <a:lstStyle/>
        <a:p>
          <a:endParaRPr lang="en-US"/>
        </a:p>
      </dgm:t>
    </dgm:pt>
    <dgm:pt modelId="{16982025-17FB-4F1C-BB9A-3E9EDAE91603}" type="sibTrans" cxnId="{A8047378-51FE-43F5-AEA3-4A9F9322F8F1}">
      <dgm:prSet/>
      <dgm:spPr/>
      <dgm:t>
        <a:bodyPr/>
        <a:lstStyle/>
        <a:p>
          <a:endParaRPr lang="en-US"/>
        </a:p>
      </dgm:t>
    </dgm:pt>
    <dgm:pt modelId="{FAB5F121-BFE1-46A4-B353-56FC64F3E375}" type="pres">
      <dgm:prSet presAssocID="{412D1288-E134-4E42-87C0-153634E250D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0CC599C-16F2-4A70-993B-7B2D58842B25}" type="pres">
      <dgm:prSet presAssocID="{36E1B8AF-F21E-47CB-BAAF-C9F2A9B6BA83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8609FB-656F-4C04-B836-597874C1C44E}" type="pres">
      <dgm:prSet presAssocID="{EB32494E-FE86-4094-9A24-03F11B5809ED}" presName="sibTrans" presStyleCnt="0"/>
      <dgm:spPr/>
    </dgm:pt>
    <dgm:pt modelId="{931DAAA0-4A33-4686-ACCC-8AFDFB769AE0}" type="pres">
      <dgm:prSet presAssocID="{BF227CC6-542E-4B87-81F0-365B28CCC7BF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3FCDB66-5D5C-4003-9135-C8267F657C62}" type="pres">
      <dgm:prSet presAssocID="{8495F9E7-8F55-4FAC-A208-D4A4BA5243EB}" presName="sibTrans" presStyleCnt="0"/>
      <dgm:spPr/>
    </dgm:pt>
    <dgm:pt modelId="{DA644478-AF89-4635-9FC1-688FD1E33678}" type="pres">
      <dgm:prSet presAssocID="{318F9C2C-DEB8-43FA-8912-71A9DBB2E2FB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BCD345-6356-45DE-953E-021922CE7C3D}" type="pres">
      <dgm:prSet presAssocID="{2659228F-95BB-46CF-B486-510AA6694720}" presName="sibTrans" presStyleCnt="0"/>
      <dgm:spPr/>
    </dgm:pt>
    <dgm:pt modelId="{58FB521A-7A2C-44CF-9AD3-4BB281CCA587}" type="pres">
      <dgm:prSet presAssocID="{6777811E-ABAC-47DE-9C0D-5B42E411ABA1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A01D3F-3D83-4724-9F5B-4E6CF4B24BAA}" type="pres">
      <dgm:prSet presAssocID="{2D08EA7E-9153-42D7-AECA-03D71F37E105}" presName="sibTrans" presStyleCnt="0"/>
      <dgm:spPr/>
    </dgm:pt>
    <dgm:pt modelId="{4BE5D4F6-3F58-4F14-96E7-F7D96B3074A1}" type="pres">
      <dgm:prSet presAssocID="{2A8D141B-279C-4CE3-B669-1D3C6AFF040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14172A8-57BB-43C5-91E1-6E8B31DA84FE}" srcId="{412D1288-E134-4E42-87C0-153634E250D2}" destId="{BF227CC6-542E-4B87-81F0-365B28CCC7BF}" srcOrd="1" destOrd="0" parTransId="{82E1D96E-2612-45A8-AB6A-A5B7A18C578A}" sibTransId="{8495F9E7-8F55-4FAC-A208-D4A4BA5243EB}"/>
    <dgm:cxn modelId="{288D0A72-E8D6-4E69-B61B-BFE0828F70F3}" type="presOf" srcId="{2A8D141B-279C-4CE3-B669-1D3C6AFF040D}" destId="{4BE5D4F6-3F58-4F14-96E7-F7D96B3074A1}" srcOrd="0" destOrd="0" presId="urn:microsoft.com/office/officeart/2005/8/layout/default"/>
    <dgm:cxn modelId="{E8ECB70F-7CDC-4546-A246-02F20FD3B59B}" type="presOf" srcId="{412D1288-E134-4E42-87C0-153634E250D2}" destId="{FAB5F121-BFE1-46A4-B353-56FC64F3E375}" srcOrd="0" destOrd="0" presId="urn:microsoft.com/office/officeart/2005/8/layout/default"/>
    <dgm:cxn modelId="{5C0F702B-CC15-4456-B21E-B15ED398EDD7}" type="presOf" srcId="{BF227CC6-542E-4B87-81F0-365B28CCC7BF}" destId="{931DAAA0-4A33-4686-ACCC-8AFDFB769AE0}" srcOrd="0" destOrd="0" presId="urn:microsoft.com/office/officeart/2005/8/layout/default"/>
    <dgm:cxn modelId="{EEBE2160-04F8-49FB-B4F4-F5078ADBAE9A}" srcId="{412D1288-E134-4E42-87C0-153634E250D2}" destId="{6777811E-ABAC-47DE-9C0D-5B42E411ABA1}" srcOrd="3" destOrd="0" parTransId="{885F9010-B21F-4BCE-AA61-CF633E53AF22}" sibTransId="{2D08EA7E-9153-42D7-AECA-03D71F37E105}"/>
    <dgm:cxn modelId="{399322D7-12F5-42C0-A0C9-7B42B83A8261}" type="presOf" srcId="{36E1B8AF-F21E-47CB-BAAF-C9F2A9B6BA83}" destId="{F0CC599C-16F2-4A70-993B-7B2D58842B25}" srcOrd="0" destOrd="0" presId="urn:microsoft.com/office/officeart/2005/8/layout/default"/>
    <dgm:cxn modelId="{A8047378-51FE-43F5-AEA3-4A9F9322F8F1}" srcId="{412D1288-E134-4E42-87C0-153634E250D2}" destId="{2A8D141B-279C-4CE3-B669-1D3C6AFF040D}" srcOrd="4" destOrd="0" parTransId="{F7E7FB4B-170E-4C82-B913-9023E5DAFF6E}" sibTransId="{16982025-17FB-4F1C-BB9A-3E9EDAE91603}"/>
    <dgm:cxn modelId="{37AC2A17-D4FA-4147-B7EA-0338570FEE65}" type="presOf" srcId="{6777811E-ABAC-47DE-9C0D-5B42E411ABA1}" destId="{58FB521A-7A2C-44CF-9AD3-4BB281CCA587}" srcOrd="0" destOrd="0" presId="urn:microsoft.com/office/officeart/2005/8/layout/default"/>
    <dgm:cxn modelId="{0AF5AB41-73F9-4278-8F80-B35C34A96CC5}" type="presOf" srcId="{318F9C2C-DEB8-43FA-8912-71A9DBB2E2FB}" destId="{DA644478-AF89-4635-9FC1-688FD1E33678}" srcOrd="0" destOrd="0" presId="urn:microsoft.com/office/officeart/2005/8/layout/default"/>
    <dgm:cxn modelId="{1BB98ADC-9ACB-4A61-B87D-DFC1C894FBC4}" srcId="{412D1288-E134-4E42-87C0-153634E250D2}" destId="{36E1B8AF-F21E-47CB-BAAF-C9F2A9B6BA83}" srcOrd="0" destOrd="0" parTransId="{4551C203-9885-476E-BFE8-334B01FC9042}" sibTransId="{EB32494E-FE86-4094-9A24-03F11B5809ED}"/>
    <dgm:cxn modelId="{F90D8848-F598-4D17-968A-E78ABAD8FEA6}" srcId="{412D1288-E134-4E42-87C0-153634E250D2}" destId="{318F9C2C-DEB8-43FA-8912-71A9DBB2E2FB}" srcOrd="2" destOrd="0" parTransId="{4B1A7E34-61DC-49E8-A857-B66EA717C92B}" sibTransId="{2659228F-95BB-46CF-B486-510AA6694720}"/>
    <dgm:cxn modelId="{C9D9C5E8-4402-46DD-9A2A-FE38FA78D0F0}" type="presParOf" srcId="{FAB5F121-BFE1-46A4-B353-56FC64F3E375}" destId="{F0CC599C-16F2-4A70-993B-7B2D58842B25}" srcOrd="0" destOrd="0" presId="urn:microsoft.com/office/officeart/2005/8/layout/default"/>
    <dgm:cxn modelId="{6048B35E-F51E-4FF4-9B0A-9D10CC3DF495}" type="presParOf" srcId="{FAB5F121-BFE1-46A4-B353-56FC64F3E375}" destId="{198609FB-656F-4C04-B836-597874C1C44E}" srcOrd="1" destOrd="0" presId="urn:microsoft.com/office/officeart/2005/8/layout/default"/>
    <dgm:cxn modelId="{7136EDDC-BEFB-4F86-915A-4E68267928DC}" type="presParOf" srcId="{FAB5F121-BFE1-46A4-B353-56FC64F3E375}" destId="{931DAAA0-4A33-4686-ACCC-8AFDFB769AE0}" srcOrd="2" destOrd="0" presId="urn:microsoft.com/office/officeart/2005/8/layout/default"/>
    <dgm:cxn modelId="{BAC34812-A924-484F-B6DC-82FABEEA940E}" type="presParOf" srcId="{FAB5F121-BFE1-46A4-B353-56FC64F3E375}" destId="{E3FCDB66-5D5C-4003-9135-C8267F657C62}" srcOrd="3" destOrd="0" presId="urn:microsoft.com/office/officeart/2005/8/layout/default"/>
    <dgm:cxn modelId="{F0B3F8EF-3A1F-4447-9071-ADFB94A572C6}" type="presParOf" srcId="{FAB5F121-BFE1-46A4-B353-56FC64F3E375}" destId="{DA644478-AF89-4635-9FC1-688FD1E33678}" srcOrd="4" destOrd="0" presId="urn:microsoft.com/office/officeart/2005/8/layout/default"/>
    <dgm:cxn modelId="{FDD1C0D8-070F-4F75-AFEE-5C3A8BA8064C}" type="presParOf" srcId="{FAB5F121-BFE1-46A4-B353-56FC64F3E375}" destId="{D5BCD345-6356-45DE-953E-021922CE7C3D}" srcOrd="5" destOrd="0" presId="urn:microsoft.com/office/officeart/2005/8/layout/default"/>
    <dgm:cxn modelId="{2D1D1E27-AE96-4D10-A68D-A1D7A9D474C5}" type="presParOf" srcId="{FAB5F121-BFE1-46A4-B353-56FC64F3E375}" destId="{58FB521A-7A2C-44CF-9AD3-4BB281CCA587}" srcOrd="6" destOrd="0" presId="urn:microsoft.com/office/officeart/2005/8/layout/default"/>
    <dgm:cxn modelId="{41308A4D-DCC7-4227-8E5E-787D889305B3}" type="presParOf" srcId="{FAB5F121-BFE1-46A4-B353-56FC64F3E375}" destId="{D9A01D3F-3D83-4724-9F5B-4E6CF4B24BAA}" srcOrd="7" destOrd="0" presId="urn:microsoft.com/office/officeart/2005/8/layout/default"/>
    <dgm:cxn modelId="{DDCCC807-607E-4895-97CB-2B5915E9F18E}" type="presParOf" srcId="{FAB5F121-BFE1-46A4-B353-56FC64F3E375}" destId="{4BE5D4F6-3F58-4F14-96E7-F7D96B3074A1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1203D8E-9D2A-4025-8672-BFEC4F5E29FC}" type="doc">
      <dgm:prSet loTypeId="urn:microsoft.com/office/officeart/2005/8/layout/arrow3" loCatId="relationship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C7DD6470-2AA1-4772-98C0-7A30DDDF3641}">
      <dgm:prSet phldrT="[Text]"/>
      <dgm:spPr/>
      <dgm:t>
        <a:bodyPr/>
        <a:lstStyle/>
        <a:p>
          <a:r>
            <a:rPr lang="en-US" dirty="0" smtClean="0">
              <a:solidFill>
                <a:srgbClr val="FFC000"/>
              </a:solidFill>
            </a:rPr>
            <a:t>Top-down delivery process metrics and monitoring</a:t>
          </a:r>
          <a:endParaRPr lang="en-US" dirty="0">
            <a:solidFill>
              <a:srgbClr val="FFC000"/>
            </a:solidFill>
          </a:endParaRPr>
        </a:p>
      </dgm:t>
    </dgm:pt>
    <dgm:pt modelId="{BF4CE29F-7D9D-4065-A80E-8C63FB73E0AE}" type="parTrans" cxnId="{A780980E-36DD-409C-AFEF-B2CA4120E33F}">
      <dgm:prSet/>
      <dgm:spPr/>
      <dgm:t>
        <a:bodyPr/>
        <a:lstStyle/>
        <a:p>
          <a:endParaRPr lang="en-US"/>
        </a:p>
      </dgm:t>
    </dgm:pt>
    <dgm:pt modelId="{89E1CE15-E24C-4983-962B-A7BC5C0EE77E}" type="sibTrans" cxnId="{A780980E-36DD-409C-AFEF-B2CA4120E33F}">
      <dgm:prSet/>
      <dgm:spPr/>
      <dgm:t>
        <a:bodyPr/>
        <a:lstStyle/>
        <a:p>
          <a:endParaRPr lang="en-US"/>
        </a:p>
      </dgm:t>
    </dgm:pt>
    <dgm:pt modelId="{F22D2E9D-3157-47FE-AA82-773A9DCBD5D0}">
      <dgm:prSet phldrT="[Text]"/>
      <dgm:spPr/>
      <dgm:t>
        <a:bodyPr/>
        <a:lstStyle/>
        <a:p>
          <a:r>
            <a:rPr lang="en-US" dirty="0" smtClean="0">
              <a:solidFill>
                <a:srgbClr val="00A000"/>
              </a:solidFill>
            </a:rPr>
            <a:t>Bottom-up comprehension of software development activities</a:t>
          </a:r>
          <a:endParaRPr lang="en-US" dirty="0">
            <a:solidFill>
              <a:srgbClr val="00A000"/>
            </a:solidFill>
          </a:endParaRPr>
        </a:p>
      </dgm:t>
    </dgm:pt>
    <dgm:pt modelId="{82C4B85B-0E58-434B-80F0-73D2ABF02000}" type="parTrans" cxnId="{72F34B8A-64B1-4613-9B79-7ECE94C27FE3}">
      <dgm:prSet/>
      <dgm:spPr/>
      <dgm:t>
        <a:bodyPr/>
        <a:lstStyle/>
        <a:p>
          <a:endParaRPr lang="en-US"/>
        </a:p>
      </dgm:t>
    </dgm:pt>
    <dgm:pt modelId="{C2EC35E2-AFDE-46FC-B496-5EB76FEDE404}" type="sibTrans" cxnId="{72F34B8A-64B1-4613-9B79-7ECE94C27FE3}">
      <dgm:prSet/>
      <dgm:spPr/>
      <dgm:t>
        <a:bodyPr/>
        <a:lstStyle/>
        <a:p>
          <a:endParaRPr lang="en-US"/>
        </a:p>
      </dgm:t>
    </dgm:pt>
    <dgm:pt modelId="{C6FE9B50-BF4B-4C26-A82C-E6EC6E0DCCE5}" type="pres">
      <dgm:prSet presAssocID="{31203D8E-9D2A-4025-8672-BFEC4F5E29FC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EA759A5-66BF-4709-9C76-1EEE96BC3732}" type="pres">
      <dgm:prSet presAssocID="{31203D8E-9D2A-4025-8672-BFEC4F5E29FC}" presName="divider" presStyleLbl="fgShp" presStyleIdx="0" presStyleCnt="1"/>
      <dgm:spPr/>
    </dgm:pt>
    <dgm:pt modelId="{4013CF13-DB4A-4307-BDA3-F4917A1FFB0D}" type="pres">
      <dgm:prSet presAssocID="{C7DD6470-2AA1-4772-98C0-7A30DDDF3641}" presName="downArrow" presStyleLbl="node1" presStyleIdx="0" presStyleCnt="2"/>
      <dgm:spPr/>
    </dgm:pt>
    <dgm:pt modelId="{B3478666-A858-451B-89B5-894A89186CC6}" type="pres">
      <dgm:prSet presAssocID="{C7DD6470-2AA1-4772-98C0-7A30DDDF3641}" presName="downArrow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AFE40D-C245-4787-BD88-45C0851B286B}" type="pres">
      <dgm:prSet presAssocID="{F22D2E9D-3157-47FE-AA82-773A9DCBD5D0}" presName="upArrow" presStyleLbl="node1" presStyleIdx="1" presStyleCnt="2"/>
      <dgm:spPr/>
    </dgm:pt>
    <dgm:pt modelId="{9814B58F-5563-45BC-BB31-38D2ECCF4641}" type="pres">
      <dgm:prSet presAssocID="{F22D2E9D-3157-47FE-AA82-773A9DCBD5D0}" presName="upArrow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43C0D42-D19E-4F4A-B6EC-48EF3EF98EB9}" type="presOf" srcId="{C7DD6470-2AA1-4772-98C0-7A30DDDF3641}" destId="{B3478666-A858-451B-89B5-894A89186CC6}" srcOrd="0" destOrd="0" presId="urn:microsoft.com/office/officeart/2005/8/layout/arrow3"/>
    <dgm:cxn modelId="{A780980E-36DD-409C-AFEF-B2CA4120E33F}" srcId="{31203D8E-9D2A-4025-8672-BFEC4F5E29FC}" destId="{C7DD6470-2AA1-4772-98C0-7A30DDDF3641}" srcOrd="0" destOrd="0" parTransId="{BF4CE29F-7D9D-4065-A80E-8C63FB73E0AE}" sibTransId="{89E1CE15-E24C-4983-962B-A7BC5C0EE77E}"/>
    <dgm:cxn modelId="{72F34B8A-64B1-4613-9B79-7ECE94C27FE3}" srcId="{31203D8E-9D2A-4025-8672-BFEC4F5E29FC}" destId="{F22D2E9D-3157-47FE-AA82-773A9DCBD5D0}" srcOrd="1" destOrd="0" parTransId="{82C4B85B-0E58-434B-80F0-73D2ABF02000}" sibTransId="{C2EC35E2-AFDE-46FC-B496-5EB76FEDE404}"/>
    <dgm:cxn modelId="{FA6E718A-3F30-4FF3-9A19-86DB552FBED3}" type="presOf" srcId="{F22D2E9D-3157-47FE-AA82-773A9DCBD5D0}" destId="{9814B58F-5563-45BC-BB31-38D2ECCF4641}" srcOrd="0" destOrd="0" presId="urn:microsoft.com/office/officeart/2005/8/layout/arrow3"/>
    <dgm:cxn modelId="{17F05A50-13D4-4756-8438-F49682545F42}" type="presOf" srcId="{31203D8E-9D2A-4025-8672-BFEC4F5E29FC}" destId="{C6FE9B50-BF4B-4C26-A82C-E6EC6E0DCCE5}" srcOrd="0" destOrd="0" presId="urn:microsoft.com/office/officeart/2005/8/layout/arrow3"/>
    <dgm:cxn modelId="{37C127DA-93A2-4ACE-8FDE-DA497714B90F}" type="presParOf" srcId="{C6FE9B50-BF4B-4C26-A82C-E6EC6E0DCCE5}" destId="{0EA759A5-66BF-4709-9C76-1EEE96BC3732}" srcOrd="0" destOrd="0" presId="urn:microsoft.com/office/officeart/2005/8/layout/arrow3"/>
    <dgm:cxn modelId="{C063A3E4-DF9E-45E9-8595-43E644AAAFEB}" type="presParOf" srcId="{C6FE9B50-BF4B-4C26-A82C-E6EC6E0DCCE5}" destId="{4013CF13-DB4A-4307-BDA3-F4917A1FFB0D}" srcOrd="1" destOrd="0" presId="urn:microsoft.com/office/officeart/2005/8/layout/arrow3"/>
    <dgm:cxn modelId="{F965129A-BD3E-4A37-94E9-CA6C258854D3}" type="presParOf" srcId="{C6FE9B50-BF4B-4C26-A82C-E6EC6E0DCCE5}" destId="{B3478666-A858-451B-89B5-894A89186CC6}" srcOrd="2" destOrd="0" presId="urn:microsoft.com/office/officeart/2005/8/layout/arrow3"/>
    <dgm:cxn modelId="{CA945E91-175A-4E2F-BC58-46A3680A2641}" type="presParOf" srcId="{C6FE9B50-BF4B-4C26-A82C-E6EC6E0DCCE5}" destId="{A5AFE40D-C245-4787-BD88-45C0851B286B}" srcOrd="3" destOrd="0" presId="urn:microsoft.com/office/officeart/2005/8/layout/arrow3"/>
    <dgm:cxn modelId="{F70829E3-78F9-4C50-B2E7-B7592B8D4780}" type="presParOf" srcId="{C6FE9B50-BF4B-4C26-A82C-E6EC6E0DCCE5}" destId="{9814B58F-5563-45BC-BB31-38D2ECCF4641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EFD7E5A-2CD0-4845-8A03-BB97EA3C811C}" type="doc">
      <dgm:prSet loTypeId="urn:microsoft.com/office/officeart/2005/8/layout/process5" loCatId="process" qsTypeId="urn:microsoft.com/office/officeart/2005/8/quickstyle/simple1" qsCatId="simple" csTypeId="urn:microsoft.com/office/officeart/2005/8/colors/colorful4" csCatId="colorful" phldr="1"/>
      <dgm:spPr/>
    </dgm:pt>
    <dgm:pt modelId="{85D30993-A787-4D21-831C-AFEDF0C44248}">
      <dgm:prSet phldrT="[Text]"/>
      <dgm:spPr/>
      <dgm:t>
        <a:bodyPr/>
        <a:lstStyle/>
        <a:p>
          <a:r>
            <a:rPr lang="en-US" dirty="0" smtClean="0"/>
            <a:t>Determine intended outcome</a:t>
          </a:r>
          <a:endParaRPr lang="en-US" dirty="0"/>
        </a:p>
      </dgm:t>
    </dgm:pt>
    <dgm:pt modelId="{39A8CFDB-430B-42B3-B4C4-C43E4CD74D50}" type="parTrans" cxnId="{0C655994-A0DA-48F8-8EC6-565B40B54B95}">
      <dgm:prSet/>
      <dgm:spPr/>
      <dgm:t>
        <a:bodyPr/>
        <a:lstStyle/>
        <a:p>
          <a:endParaRPr lang="en-US"/>
        </a:p>
      </dgm:t>
    </dgm:pt>
    <dgm:pt modelId="{D8713EBA-3C22-4CA6-B377-9BEF7E225B57}" type="sibTrans" cxnId="{0C655994-A0DA-48F8-8EC6-565B40B54B95}">
      <dgm:prSet/>
      <dgm:spPr/>
      <dgm:t>
        <a:bodyPr/>
        <a:lstStyle/>
        <a:p>
          <a:endParaRPr lang="en-US"/>
        </a:p>
      </dgm:t>
    </dgm:pt>
    <dgm:pt modelId="{A48C8561-B09A-44CD-8248-D3014234A0E6}">
      <dgm:prSet phldrT="[Text]"/>
      <dgm:spPr/>
      <dgm:t>
        <a:bodyPr/>
        <a:lstStyle/>
        <a:p>
          <a:r>
            <a:rPr lang="en-US" dirty="0" smtClean="0"/>
            <a:t>Define insight</a:t>
          </a:r>
          <a:endParaRPr lang="en-US" dirty="0"/>
        </a:p>
      </dgm:t>
    </dgm:pt>
    <dgm:pt modelId="{ACDB597C-8AC7-4406-8042-3B70302EC54C}" type="parTrans" cxnId="{3DA764E7-9AAD-461F-96AF-41D689851075}">
      <dgm:prSet/>
      <dgm:spPr/>
      <dgm:t>
        <a:bodyPr/>
        <a:lstStyle/>
        <a:p>
          <a:endParaRPr lang="en-US"/>
        </a:p>
      </dgm:t>
    </dgm:pt>
    <dgm:pt modelId="{A23C86C3-FE07-4253-A4A8-486CAAE05D27}" type="sibTrans" cxnId="{3DA764E7-9AAD-461F-96AF-41D689851075}">
      <dgm:prSet/>
      <dgm:spPr/>
      <dgm:t>
        <a:bodyPr/>
        <a:lstStyle/>
        <a:p>
          <a:endParaRPr lang="en-US" dirty="0"/>
        </a:p>
      </dgm:t>
    </dgm:pt>
    <dgm:pt modelId="{0FA87A7C-2796-4A2A-8FB8-289967FFAA00}">
      <dgm:prSet phldrT="[Text]"/>
      <dgm:spPr/>
      <dgm:t>
        <a:bodyPr/>
        <a:lstStyle/>
        <a:p>
          <a:r>
            <a:rPr lang="en-US" dirty="0" smtClean="0"/>
            <a:t>Determine visualization</a:t>
          </a:r>
          <a:endParaRPr lang="en-US" dirty="0"/>
        </a:p>
      </dgm:t>
    </dgm:pt>
    <dgm:pt modelId="{5F985A9E-374A-4B61-AF1E-74FA2C37BE3B}" type="parTrans" cxnId="{4D5CF810-BD99-4902-88C7-9407C0FE6B61}">
      <dgm:prSet/>
      <dgm:spPr/>
      <dgm:t>
        <a:bodyPr/>
        <a:lstStyle/>
        <a:p>
          <a:endParaRPr lang="en-US"/>
        </a:p>
      </dgm:t>
    </dgm:pt>
    <dgm:pt modelId="{30346A2E-D4EF-424A-A85B-09DDAEFAAFF4}" type="sibTrans" cxnId="{4D5CF810-BD99-4902-88C7-9407C0FE6B61}">
      <dgm:prSet/>
      <dgm:spPr/>
      <dgm:t>
        <a:bodyPr/>
        <a:lstStyle/>
        <a:p>
          <a:endParaRPr lang="en-US"/>
        </a:p>
      </dgm:t>
    </dgm:pt>
    <dgm:pt modelId="{D8EF2499-5BA5-4DC8-B02B-34F32FFB3432}">
      <dgm:prSet phldrT="[Text]"/>
      <dgm:spPr/>
      <dgm:t>
        <a:bodyPr/>
        <a:lstStyle/>
        <a:p>
          <a:r>
            <a:rPr lang="en-US" dirty="0" smtClean="0"/>
            <a:t>Design data analysis</a:t>
          </a:r>
          <a:endParaRPr lang="en-US" dirty="0"/>
        </a:p>
      </dgm:t>
    </dgm:pt>
    <dgm:pt modelId="{33EFC350-736D-493B-8AD1-53CE40D17E03}" type="parTrans" cxnId="{B12D6708-D280-4EB5-B6F0-4DE08FCB3266}">
      <dgm:prSet/>
      <dgm:spPr/>
      <dgm:t>
        <a:bodyPr/>
        <a:lstStyle/>
        <a:p>
          <a:endParaRPr lang="en-US"/>
        </a:p>
      </dgm:t>
    </dgm:pt>
    <dgm:pt modelId="{85DBF24E-BE35-410D-BBFF-D743CFE1A38E}" type="sibTrans" cxnId="{B12D6708-D280-4EB5-B6F0-4DE08FCB3266}">
      <dgm:prSet/>
      <dgm:spPr/>
      <dgm:t>
        <a:bodyPr/>
        <a:lstStyle/>
        <a:p>
          <a:endParaRPr lang="en-US"/>
        </a:p>
      </dgm:t>
    </dgm:pt>
    <dgm:pt modelId="{9076BC20-FEF5-4629-B21D-B229AB5BCE54}">
      <dgm:prSet phldrT="[Text]"/>
      <dgm:spPr/>
      <dgm:t>
        <a:bodyPr/>
        <a:lstStyle/>
        <a:p>
          <a:r>
            <a:rPr lang="en-US" dirty="0" smtClean="0"/>
            <a:t>Enumerate data required for analysis</a:t>
          </a:r>
          <a:endParaRPr lang="en-US" dirty="0"/>
        </a:p>
      </dgm:t>
    </dgm:pt>
    <dgm:pt modelId="{EF55F58E-4E3D-420B-962B-95F1C9C04E58}" type="parTrans" cxnId="{AC15B619-D7FC-4FF1-8F3E-CBE347081D86}">
      <dgm:prSet/>
      <dgm:spPr/>
      <dgm:t>
        <a:bodyPr/>
        <a:lstStyle/>
        <a:p>
          <a:endParaRPr lang="en-US"/>
        </a:p>
      </dgm:t>
    </dgm:pt>
    <dgm:pt modelId="{9F421946-A3BF-4E68-AAD7-1063DA627F93}" type="sibTrans" cxnId="{AC15B619-D7FC-4FF1-8F3E-CBE347081D86}">
      <dgm:prSet/>
      <dgm:spPr/>
      <dgm:t>
        <a:bodyPr/>
        <a:lstStyle/>
        <a:p>
          <a:endParaRPr lang="en-US"/>
        </a:p>
      </dgm:t>
    </dgm:pt>
    <dgm:pt modelId="{3119BDB1-F636-4F7A-A6A4-E3FAF78BFEA6}">
      <dgm:prSet phldrT="[Text]"/>
      <dgm:spPr/>
      <dgm:t>
        <a:bodyPr/>
        <a:lstStyle/>
        <a:p>
          <a:r>
            <a:rPr lang="en-US" dirty="0" smtClean="0"/>
            <a:t>Select and configure data sources</a:t>
          </a:r>
          <a:endParaRPr lang="en-US" dirty="0"/>
        </a:p>
      </dgm:t>
    </dgm:pt>
    <dgm:pt modelId="{5128DD4F-3891-49FD-8CDF-B7434956A093}" type="parTrans" cxnId="{54343FBC-EC36-44AF-9245-28357005F0F4}">
      <dgm:prSet/>
      <dgm:spPr/>
      <dgm:t>
        <a:bodyPr/>
        <a:lstStyle/>
        <a:p>
          <a:endParaRPr lang="en-US"/>
        </a:p>
      </dgm:t>
    </dgm:pt>
    <dgm:pt modelId="{430994D6-6315-4F80-99D7-9B225452B569}" type="sibTrans" cxnId="{54343FBC-EC36-44AF-9245-28357005F0F4}">
      <dgm:prSet/>
      <dgm:spPr/>
      <dgm:t>
        <a:bodyPr/>
        <a:lstStyle/>
        <a:p>
          <a:endParaRPr lang="en-US"/>
        </a:p>
      </dgm:t>
    </dgm:pt>
    <dgm:pt modelId="{71360A5E-331F-48B3-A0B5-42B6266DC390}" type="pres">
      <dgm:prSet presAssocID="{DEFD7E5A-2CD0-4845-8A03-BB97EA3C811C}" presName="diagram" presStyleCnt="0">
        <dgm:presLayoutVars>
          <dgm:dir/>
          <dgm:resizeHandles val="exact"/>
        </dgm:presLayoutVars>
      </dgm:prSet>
      <dgm:spPr/>
    </dgm:pt>
    <dgm:pt modelId="{23440251-07A8-42F8-A77C-29D303A74B8B}" type="pres">
      <dgm:prSet presAssocID="{85D30993-A787-4D21-831C-AFEDF0C44248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F4A3CB-C5DA-48D0-A43D-F0755E79F2BA}" type="pres">
      <dgm:prSet presAssocID="{D8713EBA-3C22-4CA6-B377-9BEF7E225B57}" presName="sibTrans" presStyleLbl="sibTrans2D1" presStyleIdx="0" presStyleCnt="5"/>
      <dgm:spPr/>
      <dgm:t>
        <a:bodyPr/>
        <a:lstStyle/>
        <a:p>
          <a:endParaRPr lang="en-US"/>
        </a:p>
      </dgm:t>
    </dgm:pt>
    <dgm:pt modelId="{E996CC39-0775-45EC-982E-38C3276C6E1D}" type="pres">
      <dgm:prSet presAssocID="{D8713EBA-3C22-4CA6-B377-9BEF7E225B57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D4465893-12C2-4E42-B68D-03770207C5CF}" type="pres">
      <dgm:prSet presAssocID="{A48C8561-B09A-44CD-8248-D3014234A0E6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12355F-5C49-4FD1-873F-4CBA52DCFF78}" type="pres">
      <dgm:prSet presAssocID="{A23C86C3-FE07-4253-A4A8-486CAAE05D27}" presName="sibTrans" presStyleLbl="sibTrans2D1" presStyleIdx="1" presStyleCnt="5"/>
      <dgm:spPr/>
      <dgm:t>
        <a:bodyPr/>
        <a:lstStyle/>
        <a:p>
          <a:endParaRPr lang="en-US"/>
        </a:p>
      </dgm:t>
    </dgm:pt>
    <dgm:pt modelId="{AE3CEFC9-D1F8-45E7-AE63-354C498DE4AF}" type="pres">
      <dgm:prSet presAssocID="{A23C86C3-FE07-4253-A4A8-486CAAE05D27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35B89B71-8531-4E25-80A8-1E26FDADBFFF}" type="pres">
      <dgm:prSet presAssocID="{0FA87A7C-2796-4A2A-8FB8-289967FFAA00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545969-EFDF-4F9E-845C-646495F9C831}" type="pres">
      <dgm:prSet presAssocID="{30346A2E-D4EF-424A-A85B-09DDAEFAAFF4}" presName="sibTrans" presStyleLbl="sibTrans2D1" presStyleIdx="2" presStyleCnt="5"/>
      <dgm:spPr/>
      <dgm:t>
        <a:bodyPr/>
        <a:lstStyle/>
        <a:p>
          <a:endParaRPr lang="en-US"/>
        </a:p>
      </dgm:t>
    </dgm:pt>
    <dgm:pt modelId="{85B401C4-F574-4139-9FE0-BF8240DF7743}" type="pres">
      <dgm:prSet presAssocID="{30346A2E-D4EF-424A-A85B-09DDAEFAAFF4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D817BF65-220D-4AD0-9E85-34B52B302D0C}" type="pres">
      <dgm:prSet presAssocID="{D8EF2499-5BA5-4DC8-B02B-34F32FFB3432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9A723F-11C3-4188-A157-F893F77581FB}" type="pres">
      <dgm:prSet presAssocID="{85DBF24E-BE35-410D-BBFF-D743CFE1A38E}" presName="sibTrans" presStyleLbl="sibTrans2D1" presStyleIdx="3" presStyleCnt="5"/>
      <dgm:spPr/>
      <dgm:t>
        <a:bodyPr/>
        <a:lstStyle/>
        <a:p>
          <a:endParaRPr lang="en-US"/>
        </a:p>
      </dgm:t>
    </dgm:pt>
    <dgm:pt modelId="{72B97993-0712-4DFE-9152-73045F1B2229}" type="pres">
      <dgm:prSet presAssocID="{85DBF24E-BE35-410D-BBFF-D743CFE1A38E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214ACB53-032D-4861-8C46-7A675D1CFC3B}" type="pres">
      <dgm:prSet presAssocID="{9076BC20-FEF5-4629-B21D-B229AB5BCE54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0597C6-B93A-4227-8291-20DA90891F70}" type="pres">
      <dgm:prSet presAssocID="{9F421946-A3BF-4E68-AAD7-1063DA627F93}" presName="sibTrans" presStyleLbl="sibTrans2D1" presStyleIdx="4" presStyleCnt="5"/>
      <dgm:spPr/>
      <dgm:t>
        <a:bodyPr/>
        <a:lstStyle/>
        <a:p>
          <a:endParaRPr lang="en-US"/>
        </a:p>
      </dgm:t>
    </dgm:pt>
    <dgm:pt modelId="{7FE18F35-9676-41DB-A0F1-B0C8946F223E}" type="pres">
      <dgm:prSet presAssocID="{9F421946-A3BF-4E68-AAD7-1063DA627F93}" presName="connectorText" presStyleLbl="sibTrans2D1" presStyleIdx="4" presStyleCnt="5"/>
      <dgm:spPr/>
      <dgm:t>
        <a:bodyPr/>
        <a:lstStyle/>
        <a:p>
          <a:endParaRPr lang="en-US"/>
        </a:p>
      </dgm:t>
    </dgm:pt>
    <dgm:pt modelId="{37027F9D-2007-443F-B7D5-85B5C55B6BAE}" type="pres">
      <dgm:prSet presAssocID="{3119BDB1-F636-4F7A-A6A4-E3FAF78BFEA6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C655994-A0DA-48F8-8EC6-565B40B54B95}" srcId="{DEFD7E5A-2CD0-4845-8A03-BB97EA3C811C}" destId="{85D30993-A787-4D21-831C-AFEDF0C44248}" srcOrd="0" destOrd="0" parTransId="{39A8CFDB-430B-42B3-B4C4-C43E4CD74D50}" sibTransId="{D8713EBA-3C22-4CA6-B377-9BEF7E225B57}"/>
    <dgm:cxn modelId="{4694A3D1-1987-41EA-A213-2838B84EF56A}" type="presOf" srcId="{9F421946-A3BF-4E68-AAD7-1063DA627F93}" destId="{1D0597C6-B93A-4227-8291-20DA90891F70}" srcOrd="0" destOrd="0" presId="urn:microsoft.com/office/officeart/2005/8/layout/process5"/>
    <dgm:cxn modelId="{A7B7D1A9-F52F-4AFE-9071-47F5DDD59AD3}" type="presOf" srcId="{D8713EBA-3C22-4CA6-B377-9BEF7E225B57}" destId="{BFF4A3CB-C5DA-48D0-A43D-F0755E79F2BA}" srcOrd="0" destOrd="0" presId="urn:microsoft.com/office/officeart/2005/8/layout/process5"/>
    <dgm:cxn modelId="{D23B3000-5B54-4314-B977-28C9AD45C60B}" type="presOf" srcId="{0FA87A7C-2796-4A2A-8FB8-289967FFAA00}" destId="{35B89B71-8531-4E25-80A8-1E26FDADBFFF}" srcOrd="0" destOrd="0" presId="urn:microsoft.com/office/officeart/2005/8/layout/process5"/>
    <dgm:cxn modelId="{4182C93D-646B-455D-908D-79AC2EE56D13}" type="presOf" srcId="{DEFD7E5A-2CD0-4845-8A03-BB97EA3C811C}" destId="{71360A5E-331F-48B3-A0B5-42B6266DC390}" srcOrd="0" destOrd="0" presId="urn:microsoft.com/office/officeart/2005/8/layout/process5"/>
    <dgm:cxn modelId="{4D5CF810-BD99-4902-88C7-9407C0FE6B61}" srcId="{DEFD7E5A-2CD0-4845-8A03-BB97EA3C811C}" destId="{0FA87A7C-2796-4A2A-8FB8-289967FFAA00}" srcOrd="2" destOrd="0" parTransId="{5F985A9E-374A-4B61-AF1E-74FA2C37BE3B}" sibTransId="{30346A2E-D4EF-424A-A85B-09DDAEFAAFF4}"/>
    <dgm:cxn modelId="{58B0CD35-53CF-4B8E-AEC7-C4ACA7D42D84}" type="presOf" srcId="{A23C86C3-FE07-4253-A4A8-486CAAE05D27}" destId="{3E12355F-5C49-4FD1-873F-4CBA52DCFF78}" srcOrd="0" destOrd="0" presId="urn:microsoft.com/office/officeart/2005/8/layout/process5"/>
    <dgm:cxn modelId="{69925B0E-F765-4AB5-8940-B4A3FEF87F64}" type="presOf" srcId="{85DBF24E-BE35-410D-BBFF-D743CFE1A38E}" destId="{72B97993-0712-4DFE-9152-73045F1B2229}" srcOrd="1" destOrd="0" presId="urn:microsoft.com/office/officeart/2005/8/layout/process5"/>
    <dgm:cxn modelId="{A78647E2-C4A7-42B9-AADF-608641C04D4E}" type="presOf" srcId="{30346A2E-D4EF-424A-A85B-09DDAEFAAFF4}" destId="{E7545969-EFDF-4F9E-845C-646495F9C831}" srcOrd="0" destOrd="0" presId="urn:microsoft.com/office/officeart/2005/8/layout/process5"/>
    <dgm:cxn modelId="{C7153037-1652-4F39-92B4-23FB1398620B}" type="presOf" srcId="{D8EF2499-5BA5-4DC8-B02B-34F32FFB3432}" destId="{D817BF65-220D-4AD0-9E85-34B52B302D0C}" srcOrd="0" destOrd="0" presId="urn:microsoft.com/office/officeart/2005/8/layout/process5"/>
    <dgm:cxn modelId="{29DC7885-C7CE-43A9-8F67-1CC803B99196}" type="presOf" srcId="{3119BDB1-F636-4F7A-A6A4-E3FAF78BFEA6}" destId="{37027F9D-2007-443F-B7D5-85B5C55B6BAE}" srcOrd="0" destOrd="0" presId="urn:microsoft.com/office/officeart/2005/8/layout/process5"/>
    <dgm:cxn modelId="{5CBFC4F3-27A1-4E36-957C-D48F68B67014}" type="presOf" srcId="{85D30993-A787-4D21-831C-AFEDF0C44248}" destId="{23440251-07A8-42F8-A77C-29D303A74B8B}" srcOrd="0" destOrd="0" presId="urn:microsoft.com/office/officeart/2005/8/layout/process5"/>
    <dgm:cxn modelId="{685A9490-AC27-48EF-B172-8C8497667502}" type="presOf" srcId="{9F421946-A3BF-4E68-AAD7-1063DA627F93}" destId="{7FE18F35-9676-41DB-A0F1-B0C8946F223E}" srcOrd="1" destOrd="0" presId="urn:microsoft.com/office/officeart/2005/8/layout/process5"/>
    <dgm:cxn modelId="{1EABF7DD-4C7C-45EB-BEE9-47D6B481C231}" type="presOf" srcId="{A48C8561-B09A-44CD-8248-D3014234A0E6}" destId="{D4465893-12C2-4E42-B68D-03770207C5CF}" srcOrd="0" destOrd="0" presId="urn:microsoft.com/office/officeart/2005/8/layout/process5"/>
    <dgm:cxn modelId="{C4E954C3-F07B-4E1A-8E57-23C5C5CE96B3}" type="presOf" srcId="{A23C86C3-FE07-4253-A4A8-486CAAE05D27}" destId="{AE3CEFC9-D1F8-45E7-AE63-354C498DE4AF}" srcOrd="1" destOrd="0" presId="urn:microsoft.com/office/officeart/2005/8/layout/process5"/>
    <dgm:cxn modelId="{54343FBC-EC36-44AF-9245-28357005F0F4}" srcId="{DEFD7E5A-2CD0-4845-8A03-BB97EA3C811C}" destId="{3119BDB1-F636-4F7A-A6A4-E3FAF78BFEA6}" srcOrd="5" destOrd="0" parTransId="{5128DD4F-3891-49FD-8CDF-B7434956A093}" sibTransId="{430994D6-6315-4F80-99D7-9B225452B569}"/>
    <dgm:cxn modelId="{3DA764E7-9AAD-461F-96AF-41D689851075}" srcId="{DEFD7E5A-2CD0-4845-8A03-BB97EA3C811C}" destId="{A48C8561-B09A-44CD-8248-D3014234A0E6}" srcOrd="1" destOrd="0" parTransId="{ACDB597C-8AC7-4406-8042-3B70302EC54C}" sibTransId="{A23C86C3-FE07-4253-A4A8-486CAAE05D27}"/>
    <dgm:cxn modelId="{21F456F8-B405-4AF0-8B12-C95BF2913339}" type="presOf" srcId="{30346A2E-D4EF-424A-A85B-09DDAEFAAFF4}" destId="{85B401C4-F574-4139-9FE0-BF8240DF7743}" srcOrd="1" destOrd="0" presId="urn:microsoft.com/office/officeart/2005/8/layout/process5"/>
    <dgm:cxn modelId="{5CDD086E-6521-4593-9816-60C8802A17FA}" type="presOf" srcId="{D8713EBA-3C22-4CA6-B377-9BEF7E225B57}" destId="{E996CC39-0775-45EC-982E-38C3276C6E1D}" srcOrd="1" destOrd="0" presId="urn:microsoft.com/office/officeart/2005/8/layout/process5"/>
    <dgm:cxn modelId="{09CC5376-9637-4F46-B35E-8C2148B6ECB4}" type="presOf" srcId="{9076BC20-FEF5-4629-B21D-B229AB5BCE54}" destId="{214ACB53-032D-4861-8C46-7A675D1CFC3B}" srcOrd="0" destOrd="0" presId="urn:microsoft.com/office/officeart/2005/8/layout/process5"/>
    <dgm:cxn modelId="{AC15B619-D7FC-4FF1-8F3E-CBE347081D86}" srcId="{DEFD7E5A-2CD0-4845-8A03-BB97EA3C811C}" destId="{9076BC20-FEF5-4629-B21D-B229AB5BCE54}" srcOrd="4" destOrd="0" parTransId="{EF55F58E-4E3D-420B-962B-95F1C9C04E58}" sibTransId="{9F421946-A3BF-4E68-AAD7-1063DA627F93}"/>
    <dgm:cxn modelId="{69B27610-899F-4969-A61B-0003DF690968}" type="presOf" srcId="{85DBF24E-BE35-410D-BBFF-D743CFE1A38E}" destId="{2A9A723F-11C3-4188-A157-F893F77581FB}" srcOrd="0" destOrd="0" presId="urn:microsoft.com/office/officeart/2005/8/layout/process5"/>
    <dgm:cxn modelId="{B12D6708-D280-4EB5-B6F0-4DE08FCB3266}" srcId="{DEFD7E5A-2CD0-4845-8A03-BB97EA3C811C}" destId="{D8EF2499-5BA5-4DC8-B02B-34F32FFB3432}" srcOrd="3" destOrd="0" parTransId="{33EFC350-736D-493B-8AD1-53CE40D17E03}" sibTransId="{85DBF24E-BE35-410D-BBFF-D743CFE1A38E}"/>
    <dgm:cxn modelId="{A31AD227-91EB-4EDE-A45B-59CB002C98B5}" type="presParOf" srcId="{71360A5E-331F-48B3-A0B5-42B6266DC390}" destId="{23440251-07A8-42F8-A77C-29D303A74B8B}" srcOrd="0" destOrd="0" presId="urn:microsoft.com/office/officeart/2005/8/layout/process5"/>
    <dgm:cxn modelId="{1B458737-3654-4DE4-A74C-9042531BC397}" type="presParOf" srcId="{71360A5E-331F-48B3-A0B5-42B6266DC390}" destId="{BFF4A3CB-C5DA-48D0-A43D-F0755E79F2BA}" srcOrd="1" destOrd="0" presId="urn:microsoft.com/office/officeart/2005/8/layout/process5"/>
    <dgm:cxn modelId="{105034F1-B4B2-490C-BDD5-A10766E9E6BE}" type="presParOf" srcId="{BFF4A3CB-C5DA-48D0-A43D-F0755E79F2BA}" destId="{E996CC39-0775-45EC-982E-38C3276C6E1D}" srcOrd="0" destOrd="0" presId="urn:microsoft.com/office/officeart/2005/8/layout/process5"/>
    <dgm:cxn modelId="{B20E5E01-7043-441D-8174-58D015C9853A}" type="presParOf" srcId="{71360A5E-331F-48B3-A0B5-42B6266DC390}" destId="{D4465893-12C2-4E42-B68D-03770207C5CF}" srcOrd="2" destOrd="0" presId="urn:microsoft.com/office/officeart/2005/8/layout/process5"/>
    <dgm:cxn modelId="{DD43EAEB-AA5A-46EB-B48A-8A6A021C7CA1}" type="presParOf" srcId="{71360A5E-331F-48B3-A0B5-42B6266DC390}" destId="{3E12355F-5C49-4FD1-873F-4CBA52DCFF78}" srcOrd="3" destOrd="0" presId="urn:microsoft.com/office/officeart/2005/8/layout/process5"/>
    <dgm:cxn modelId="{5668B154-AB9A-4B4C-B298-93CB2E75476C}" type="presParOf" srcId="{3E12355F-5C49-4FD1-873F-4CBA52DCFF78}" destId="{AE3CEFC9-D1F8-45E7-AE63-354C498DE4AF}" srcOrd="0" destOrd="0" presId="urn:microsoft.com/office/officeart/2005/8/layout/process5"/>
    <dgm:cxn modelId="{5A977697-EED7-447D-8642-9037C99B4DCA}" type="presParOf" srcId="{71360A5E-331F-48B3-A0B5-42B6266DC390}" destId="{35B89B71-8531-4E25-80A8-1E26FDADBFFF}" srcOrd="4" destOrd="0" presId="urn:microsoft.com/office/officeart/2005/8/layout/process5"/>
    <dgm:cxn modelId="{347808E9-B5A6-48A7-AD42-D77C7AB7A82E}" type="presParOf" srcId="{71360A5E-331F-48B3-A0B5-42B6266DC390}" destId="{E7545969-EFDF-4F9E-845C-646495F9C831}" srcOrd="5" destOrd="0" presId="urn:microsoft.com/office/officeart/2005/8/layout/process5"/>
    <dgm:cxn modelId="{8553B88F-EA6E-4FFF-8376-27F3F49C13D1}" type="presParOf" srcId="{E7545969-EFDF-4F9E-845C-646495F9C831}" destId="{85B401C4-F574-4139-9FE0-BF8240DF7743}" srcOrd="0" destOrd="0" presId="urn:microsoft.com/office/officeart/2005/8/layout/process5"/>
    <dgm:cxn modelId="{E75DE88E-50AD-4A5A-9D64-903541F71C9A}" type="presParOf" srcId="{71360A5E-331F-48B3-A0B5-42B6266DC390}" destId="{D817BF65-220D-4AD0-9E85-34B52B302D0C}" srcOrd="6" destOrd="0" presId="urn:microsoft.com/office/officeart/2005/8/layout/process5"/>
    <dgm:cxn modelId="{83A052B8-1B69-4FA2-98F3-CB186C9EE6C3}" type="presParOf" srcId="{71360A5E-331F-48B3-A0B5-42B6266DC390}" destId="{2A9A723F-11C3-4188-A157-F893F77581FB}" srcOrd="7" destOrd="0" presId="urn:microsoft.com/office/officeart/2005/8/layout/process5"/>
    <dgm:cxn modelId="{A8D21E24-B2A4-40D5-866E-6F881FEFE90C}" type="presParOf" srcId="{2A9A723F-11C3-4188-A157-F893F77581FB}" destId="{72B97993-0712-4DFE-9152-73045F1B2229}" srcOrd="0" destOrd="0" presId="urn:microsoft.com/office/officeart/2005/8/layout/process5"/>
    <dgm:cxn modelId="{B43D6747-6D6F-4556-B2EF-5B8A142C797A}" type="presParOf" srcId="{71360A5E-331F-48B3-A0B5-42B6266DC390}" destId="{214ACB53-032D-4861-8C46-7A675D1CFC3B}" srcOrd="8" destOrd="0" presId="urn:microsoft.com/office/officeart/2005/8/layout/process5"/>
    <dgm:cxn modelId="{8A37FF40-0866-499C-8BA3-973D2AD26078}" type="presParOf" srcId="{71360A5E-331F-48B3-A0B5-42B6266DC390}" destId="{1D0597C6-B93A-4227-8291-20DA90891F70}" srcOrd="9" destOrd="0" presId="urn:microsoft.com/office/officeart/2005/8/layout/process5"/>
    <dgm:cxn modelId="{E4CAAE3C-6199-41C1-8F09-55F94A89DDF4}" type="presParOf" srcId="{1D0597C6-B93A-4227-8291-20DA90891F70}" destId="{7FE18F35-9676-41DB-A0F1-B0C8946F223E}" srcOrd="0" destOrd="0" presId="urn:microsoft.com/office/officeart/2005/8/layout/process5"/>
    <dgm:cxn modelId="{36C99A51-3432-4AE9-A023-E27BF17B70A6}" type="presParOf" srcId="{71360A5E-331F-48B3-A0B5-42B6266DC390}" destId="{37027F9D-2007-443F-B7D5-85B5C55B6BAE}" srcOrd="1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B3A1B82-B70A-4D36-802B-77FB8946AB9B}" type="doc">
      <dgm:prSet loTypeId="urn:microsoft.com/office/officeart/2005/8/layout/hierarchy3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BDB6E401-4D40-42D5-A090-24F90C3C20F0}">
      <dgm:prSet/>
      <dgm:spPr>
        <a:xfrm>
          <a:off x="6701" y="203588"/>
          <a:ext cx="1079841" cy="539920"/>
        </a:xfrm>
        <a:solidFill>
          <a:srgbClr val="989AAC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Code Quality</a:t>
          </a:r>
          <a:endParaRPr lang="en-IN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42A33676-3C2D-40CA-9CC0-44FE8A6E5F41}" type="parTrans" cxnId="{2A4ED83C-33DB-4EFB-8C42-F9766E682C1B}">
      <dgm:prSet/>
      <dgm:spPr/>
      <dgm:t>
        <a:bodyPr/>
        <a:lstStyle/>
        <a:p>
          <a:endParaRPr lang="en-IN"/>
        </a:p>
      </dgm:t>
    </dgm:pt>
    <dgm:pt modelId="{75107084-ABB9-43A2-B7DD-F3ED426FE939}" type="sibTrans" cxnId="{2A4ED83C-33DB-4EFB-8C42-F9766E682C1B}">
      <dgm:prSet/>
      <dgm:spPr/>
      <dgm:t>
        <a:bodyPr/>
        <a:lstStyle/>
        <a:p>
          <a:endParaRPr lang="en-IN"/>
        </a:p>
      </dgm:t>
    </dgm:pt>
    <dgm:pt modelId="{D31D431A-ACCC-4B8F-BA71-75B3B5A90572}">
      <dgm:prSet/>
      <dgm:spPr>
        <a:xfrm>
          <a:off x="222669" y="878489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de Quality Index : CQI </a:t>
          </a:r>
          <a:endParaRPr lang="en-IN" b="1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BC729F08-4636-4D55-8AB8-CAEE08F21215}" type="parTrans" cxnId="{F94F6F5D-E7F7-46B7-B624-D50241F64418}">
      <dgm:prSet/>
      <dgm:spPr>
        <a:xfrm>
          <a:off x="114685" y="743509"/>
          <a:ext cx="107984" cy="404940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E893F1B3-42DE-4C98-93AA-2A190B7478E5}" type="sibTrans" cxnId="{F94F6F5D-E7F7-46B7-B624-D50241F64418}">
      <dgm:prSet/>
      <dgm:spPr/>
      <dgm:t>
        <a:bodyPr/>
        <a:lstStyle/>
        <a:p>
          <a:endParaRPr lang="en-IN"/>
        </a:p>
      </dgm:t>
    </dgm:pt>
    <dgm:pt modelId="{6665E63A-35ED-48B1-B861-92F1B61E1E41}">
      <dgm:prSet/>
      <dgm:spPr>
        <a:xfrm>
          <a:off x="222669" y="15533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866877"/>
              <a:satOff val="4113"/>
              <a:lumOff val="-889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op Code Quality Issues and Categories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DB4A3400-8521-4AD9-9EDA-CAEDCFC6EA43}" type="parTrans" cxnId="{1459CBA6-F9A6-47FC-AE27-BE7B16F788AA}">
      <dgm:prSet/>
      <dgm:spPr>
        <a:xfrm>
          <a:off x="114685" y="743509"/>
          <a:ext cx="107984" cy="10798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BC4AC579-8010-4618-91F4-B7BBBAFDF742}" type="sibTrans" cxnId="{1459CBA6-F9A6-47FC-AE27-BE7B16F788AA}">
      <dgm:prSet/>
      <dgm:spPr/>
      <dgm:t>
        <a:bodyPr/>
        <a:lstStyle/>
        <a:p>
          <a:endParaRPr lang="en-IN"/>
        </a:p>
      </dgm:t>
    </dgm:pt>
    <dgm:pt modelId="{DD8B3B35-265E-4D9D-821C-E04D33C6B8B9}">
      <dgm:prSet/>
      <dgm:spPr>
        <a:xfrm>
          <a:off x="222669" y="22282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733755"/>
              <a:satOff val="8225"/>
              <a:lumOff val="-1778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Rate of Increase of Code Quality Issues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B8B448CD-7FA3-4BF7-BB6D-BF9F0F178A1F}" type="parTrans" cxnId="{72F5C8F5-9AAE-4B67-A531-EE732648F1E0}">
      <dgm:prSet/>
      <dgm:spPr>
        <a:xfrm>
          <a:off x="114685" y="743509"/>
          <a:ext cx="107984" cy="17547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F4A17169-530C-4301-BB7D-19CEEA131470}" type="sibTrans" cxnId="{72F5C8F5-9AAE-4B67-A531-EE732648F1E0}">
      <dgm:prSet/>
      <dgm:spPr/>
      <dgm:t>
        <a:bodyPr/>
        <a:lstStyle/>
        <a:p>
          <a:endParaRPr lang="en-IN"/>
        </a:p>
      </dgm:t>
    </dgm:pt>
    <dgm:pt modelId="{8E2E6D9F-E1D6-445C-8B4A-2AC3CEE605ED}">
      <dgm:prSet/>
      <dgm:spPr>
        <a:xfrm>
          <a:off x="1356502" y="203588"/>
          <a:ext cx="1079841" cy="539920"/>
        </a:xfrm>
        <a:solidFill>
          <a:srgbClr val="989AAC">
            <a:hueOff val="-2600632"/>
            <a:satOff val="12338"/>
            <a:lumOff val="-2667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Component Testing</a:t>
          </a:r>
          <a:endParaRPr lang="en-IN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7B6C6AF3-BDBC-47ED-92F3-062B6EBAC9F0}" type="parTrans" cxnId="{7FC7F729-DA1D-44E0-8B77-0E8759D61985}">
      <dgm:prSet/>
      <dgm:spPr/>
      <dgm:t>
        <a:bodyPr/>
        <a:lstStyle/>
        <a:p>
          <a:endParaRPr lang="en-IN"/>
        </a:p>
      </dgm:t>
    </dgm:pt>
    <dgm:pt modelId="{B6B31E94-0457-40DA-97F2-42B1E2FAF72D}" type="sibTrans" cxnId="{7FC7F729-DA1D-44E0-8B77-0E8759D61985}">
      <dgm:prSet/>
      <dgm:spPr/>
      <dgm:t>
        <a:bodyPr/>
        <a:lstStyle/>
        <a:p>
          <a:endParaRPr lang="en-IN"/>
        </a:p>
      </dgm:t>
    </dgm:pt>
    <dgm:pt modelId="{080E6F07-8B38-4FA7-AF7E-54DF7F086FE0}">
      <dgm:prSet custT="1"/>
      <dgm:spPr>
        <a:xfrm>
          <a:off x="1572470" y="878489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2600632"/>
              <a:satOff val="12338"/>
              <a:lumOff val="-2667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sz="5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Quality  of  Component  Testing  Effort  (QCTE) </a:t>
          </a:r>
          <a:endParaRPr lang="en-IN" sz="500" b="1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A0CDB120-171F-4AAD-BB2D-2EAD84EFBE06}" type="parTrans" cxnId="{67B2A2A8-4583-47E2-8511-2645862A464B}">
      <dgm:prSet/>
      <dgm:spPr>
        <a:xfrm>
          <a:off x="1464486" y="743509"/>
          <a:ext cx="107984" cy="404940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4BC9C77E-6D3A-4E94-AA9A-0E9FA573D24E}" type="sibTrans" cxnId="{67B2A2A8-4583-47E2-8511-2645862A464B}">
      <dgm:prSet/>
      <dgm:spPr/>
      <dgm:t>
        <a:bodyPr/>
        <a:lstStyle/>
        <a:p>
          <a:endParaRPr lang="en-IN"/>
        </a:p>
      </dgm:t>
    </dgm:pt>
    <dgm:pt modelId="{CF379E45-ACB4-4736-B146-6B115846D1C4}">
      <dgm:prSet/>
      <dgm:spPr>
        <a:xfrm>
          <a:off x="1572470" y="15533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3467510"/>
              <a:satOff val="16450"/>
              <a:lumOff val="-3555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UnTested</a:t>
          </a:r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 and Poorly Tested Components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BCAF971A-558D-47D2-92B2-079CD3556D2A}" type="parTrans" cxnId="{0C343AD5-B743-40F6-AC84-36A7487D254D}">
      <dgm:prSet/>
      <dgm:spPr>
        <a:xfrm>
          <a:off x="1464486" y="743509"/>
          <a:ext cx="107984" cy="10798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3A6E167F-01FD-435B-B057-15AEDDFF770B}" type="sibTrans" cxnId="{0C343AD5-B743-40F6-AC84-36A7487D254D}">
      <dgm:prSet/>
      <dgm:spPr/>
      <dgm:t>
        <a:bodyPr/>
        <a:lstStyle/>
        <a:p>
          <a:endParaRPr lang="en-IN"/>
        </a:p>
      </dgm:t>
    </dgm:pt>
    <dgm:pt modelId="{8980752F-00A0-4667-860E-10E7FF4C8688}">
      <dgm:prSet/>
      <dgm:spPr>
        <a:xfrm>
          <a:off x="1572470" y="22282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4334387"/>
              <a:satOff val="20563"/>
              <a:lumOff val="-4444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verage for Complex Components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0E80E028-7CFF-475F-9485-3E5A079CC232}" type="parTrans" cxnId="{C34DC5D3-DAE0-4B89-90B1-C28688328F81}">
      <dgm:prSet/>
      <dgm:spPr>
        <a:xfrm>
          <a:off x="1464486" y="743509"/>
          <a:ext cx="107984" cy="17547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126BDFEE-0930-4E85-BCC0-6D910E98E8F5}" type="sibTrans" cxnId="{C34DC5D3-DAE0-4B89-90B1-C28688328F81}">
      <dgm:prSet/>
      <dgm:spPr/>
      <dgm:t>
        <a:bodyPr/>
        <a:lstStyle/>
        <a:p>
          <a:endParaRPr lang="en-IN"/>
        </a:p>
      </dgm:t>
    </dgm:pt>
    <dgm:pt modelId="{52E4E86E-081A-44B6-8EDE-647B77AFD92B}">
      <dgm:prSet/>
      <dgm:spPr>
        <a:xfrm>
          <a:off x="2706303" y="203588"/>
          <a:ext cx="1079841" cy="539920"/>
        </a:xfrm>
        <a:solidFill>
          <a:srgbClr val="989AAC">
            <a:hueOff val="-5201264"/>
            <a:satOff val="24676"/>
            <a:lumOff val="-5333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Development Efﬁciency</a:t>
          </a:r>
          <a:endParaRPr lang="en-IN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AEDB39E7-FD0D-48DA-9415-94F96D51EA92}" type="parTrans" cxnId="{077B448C-B8D2-4D12-AED5-39D5D24E770F}">
      <dgm:prSet/>
      <dgm:spPr/>
      <dgm:t>
        <a:bodyPr/>
        <a:lstStyle/>
        <a:p>
          <a:endParaRPr lang="en-IN"/>
        </a:p>
      </dgm:t>
    </dgm:pt>
    <dgm:pt modelId="{01161F8F-75C4-4787-ABE2-74DBEDD67686}" type="sibTrans" cxnId="{077B448C-B8D2-4D12-AED5-39D5D24E770F}">
      <dgm:prSet/>
      <dgm:spPr/>
      <dgm:t>
        <a:bodyPr/>
        <a:lstStyle/>
        <a:p>
          <a:endParaRPr lang="en-IN"/>
        </a:p>
      </dgm:t>
    </dgm:pt>
    <dgm:pt modelId="{6EC2AD6E-080F-4D29-BDE1-590CADF3C047}">
      <dgm:prSet/>
      <dgm:spPr>
        <a:xfrm>
          <a:off x="2922272" y="878489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5201264"/>
              <a:satOff val="24676"/>
              <a:lumOff val="-5333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st of Development Index: CDI </a:t>
          </a:r>
          <a:endParaRPr lang="en-IN" b="1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53203700-AA1B-450A-AD0E-02BBD36C5AE3}" type="parTrans" cxnId="{8DC79525-753C-4EFF-B7ED-51A122637766}">
      <dgm:prSet/>
      <dgm:spPr>
        <a:xfrm>
          <a:off x="2814287" y="743509"/>
          <a:ext cx="107984" cy="404940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0140F749-CC3F-4EA3-987D-EA3900E10CE2}" type="sibTrans" cxnId="{8DC79525-753C-4EFF-B7ED-51A122637766}">
      <dgm:prSet/>
      <dgm:spPr/>
      <dgm:t>
        <a:bodyPr/>
        <a:lstStyle/>
        <a:p>
          <a:endParaRPr lang="en-IN"/>
        </a:p>
      </dgm:t>
    </dgm:pt>
    <dgm:pt modelId="{B3D4237E-C010-468D-B7FF-10B665A5BB76}">
      <dgm:prSet/>
      <dgm:spPr>
        <a:xfrm>
          <a:off x="4056105" y="203588"/>
          <a:ext cx="1079841" cy="539920"/>
        </a:xfrm>
        <a:solidFill>
          <a:srgbClr val="989AAC">
            <a:hueOff val="-7801897"/>
            <a:satOff val="37013"/>
            <a:lumOff val="-800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Code Churn</a:t>
          </a:r>
          <a:endParaRPr lang="en-IN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CF5269CF-D1B8-42E0-B352-42BEDF8CE593}" type="parTrans" cxnId="{C6D90024-10D6-445B-8860-8F46218D38B2}">
      <dgm:prSet/>
      <dgm:spPr/>
      <dgm:t>
        <a:bodyPr/>
        <a:lstStyle/>
        <a:p>
          <a:endParaRPr lang="en-IN"/>
        </a:p>
      </dgm:t>
    </dgm:pt>
    <dgm:pt modelId="{C4D7E54A-B865-4357-9DBE-708A1F86F56D}" type="sibTrans" cxnId="{C6D90024-10D6-445B-8860-8F46218D38B2}">
      <dgm:prSet/>
      <dgm:spPr/>
      <dgm:t>
        <a:bodyPr/>
        <a:lstStyle/>
        <a:p>
          <a:endParaRPr lang="en-IN"/>
        </a:p>
      </dgm:t>
    </dgm:pt>
    <dgm:pt modelId="{7249EF86-BB4A-42B6-8F8B-B6F0E27802A4}">
      <dgm:prSet/>
      <dgm:spPr>
        <a:xfrm>
          <a:off x="4272073" y="878489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6068142"/>
              <a:satOff val="28788"/>
              <a:lumOff val="-6222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er package Code Churn trends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A0E1168E-35E4-47A4-A15F-B2A11B28ACE6}" type="parTrans" cxnId="{34F42BE5-6F0D-48E6-81A7-3DDEA8E1EBCB}">
      <dgm:prSet/>
      <dgm:spPr>
        <a:xfrm>
          <a:off x="4164089" y="743509"/>
          <a:ext cx="107984" cy="404940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A3C7CCDE-192F-406C-8F09-54EF6EA86BDA}" type="sibTrans" cxnId="{34F42BE5-6F0D-48E6-81A7-3DDEA8E1EBCB}">
      <dgm:prSet/>
      <dgm:spPr/>
      <dgm:t>
        <a:bodyPr/>
        <a:lstStyle/>
        <a:p>
          <a:endParaRPr lang="en-IN"/>
        </a:p>
      </dgm:t>
    </dgm:pt>
    <dgm:pt modelId="{154DE925-5870-4061-8C8A-BFF0A5E514E6}">
      <dgm:prSet/>
      <dgm:spPr>
        <a:xfrm>
          <a:off x="4272073" y="15533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6935019"/>
              <a:satOff val="32901"/>
              <a:lumOff val="-7111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op code contributors 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3A971E22-4390-4592-8091-A77631A6AC4E}" type="parTrans" cxnId="{491B753E-EBCB-4219-8D55-84112BC20827}">
      <dgm:prSet/>
      <dgm:spPr>
        <a:xfrm>
          <a:off x="4164089" y="743509"/>
          <a:ext cx="107984" cy="10798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15E38F17-3D1A-4EFE-AF36-F1731B14B0D6}" type="sibTrans" cxnId="{491B753E-EBCB-4219-8D55-84112BC20827}">
      <dgm:prSet/>
      <dgm:spPr/>
      <dgm:t>
        <a:bodyPr/>
        <a:lstStyle/>
        <a:p>
          <a:endParaRPr lang="en-IN"/>
        </a:p>
      </dgm:t>
    </dgm:pt>
    <dgm:pt modelId="{7673AD98-8DFA-459E-AC8A-2D7A2A60B8CD}">
      <dgm:prSet/>
      <dgm:spPr>
        <a:xfrm>
          <a:off x="4272073" y="22282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7801897"/>
              <a:satOff val="37013"/>
              <a:lumOff val="-800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er package code contributors.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FE4E3924-9FAD-4840-8011-8808D91CE590}" type="parTrans" cxnId="{3535C5B8-9FB2-409C-826B-DD5F3A3306B0}">
      <dgm:prSet/>
      <dgm:spPr>
        <a:xfrm>
          <a:off x="4164089" y="743509"/>
          <a:ext cx="107984" cy="17547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C4420B5B-28C7-4FBC-9D54-6814C4430F82}" type="sibTrans" cxnId="{3535C5B8-9FB2-409C-826B-DD5F3A3306B0}">
      <dgm:prSet/>
      <dgm:spPr/>
      <dgm:t>
        <a:bodyPr/>
        <a:lstStyle/>
        <a:p>
          <a:endParaRPr lang="en-IN"/>
        </a:p>
      </dgm:t>
    </dgm:pt>
    <dgm:pt modelId="{AA2E428B-61BE-453E-A46E-ED15EB3F2360}">
      <dgm:prSet/>
      <dgm:spPr>
        <a:xfrm>
          <a:off x="5405906" y="203588"/>
          <a:ext cx="1079841" cy="539920"/>
        </a:xfrm>
        <a:solidFill>
          <a:srgbClr val="989AAC">
            <a:hueOff val="-10402528"/>
            <a:satOff val="49351"/>
            <a:lumOff val="-10666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Team Analysis</a:t>
          </a:r>
          <a:endParaRPr lang="en-IN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84C51DFF-BFC9-40B9-85FF-339D9DDF8F7F}" type="parTrans" cxnId="{EC03725A-9E66-4440-BF8D-9A96567542D0}">
      <dgm:prSet/>
      <dgm:spPr/>
      <dgm:t>
        <a:bodyPr/>
        <a:lstStyle/>
        <a:p>
          <a:endParaRPr lang="en-IN"/>
        </a:p>
      </dgm:t>
    </dgm:pt>
    <dgm:pt modelId="{BCBEED38-054D-4AE2-B28F-B7653E1F604A}" type="sibTrans" cxnId="{EC03725A-9E66-4440-BF8D-9A96567542D0}">
      <dgm:prSet/>
      <dgm:spPr/>
      <dgm:t>
        <a:bodyPr/>
        <a:lstStyle/>
        <a:p>
          <a:endParaRPr lang="en-IN"/>
        </a:p>
      </dgm:t>
    </dgm:pt>
    <dgm:pt modelId="{D19C60DC-4A81-4AD8-AAC5-6794773D2980}">
      <dgm:prSet/>
      <dgm:spPr>
        <a:xfrm>
          <a:off x="5621874" y="878489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8668774"/>
              <a:satOff val="41126"/>
              <a:lumOff val="-8889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Highly Connected Resources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8E6B3A93-5333-4AFE-B32D-546223D1C9C0}" type="parTrans" cxnId="{F6196FF4-2276-44D1-AF8F-AE6A42D3BAB1}">
      <dgm:prSet/>
      <dgm:spPr>
        <a:xfrm>
          <a:off x="5513890" y="743509"/>
          <a:ext cx="107984" cy="404940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3C16374C-050E-4F12-AB19-2A63E9A3F416}" type="sibTrans" cxnId="{F6196FF4-2276-44D1-AF8F-AE6A42D3BAB1}">
      <dgm:prSet/>
      <dgm:spPr/>
      <dgm:t>
        <a:bodyPr/>
        <a:lstStyle/>
        <a:p>
          <a:endParaRPr lang="en-IN"/>
        </a:p>
      </dgm:t>
    </dgm:pt>
    <dgm:pt modelId="{0DBD62A7-E312-4CA6-A349-908BE4AF0F72}">
      <dgm:prSet/>
      <dgm:spPr>
        <a:xfrm>
          <a:off x="5621874" y="15533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9535651"/>
              <a:satOff val="45239"/>
              <a:lumOff val="-9778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oorly Connected and Disconnected Resources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EB2406BB-6707-4916-8A80-7636FEF9DB25}" type="parTrans" cxnId="{3DD2C53C-7A26-41C1-B78C-C78BE31287E3}">
      <dgm:prSet/>
      <dgm:spPr>
        <a:xfrm>
          <a:off x="5513890" y="743509"/>
          <a:ext cx="107984" cy="10798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AB4FE505-D843-4069-9A65-CEA760F92867}" type="sibTrans" cxnId="{3DD2C53C-7A26-41C1-B78C-C78BE31287E3}">
      <dgm:prSet/>
      <dgm:spPr/>
      <dgm:t>
        <a:bodyPr/>
        <a:lstStyle/>
        <a:p>
          <a:endParaRPr lang="en-IN"/>
        </a:p>
      </dgm:t>
    </dgm:pt>
    <dgm:pt modelId="{579FBC5F-6EF5-42FA-BAB3-6AB8570DF49B}">
      <dgm:prSet/>
      <dgm:spPr>
        <a:xfrm>
          <a:off x="5621874" y="22282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0402528"/>
              <a:satOff val="49351"/>
              <a:lumOff val="-10666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rogrammer Fragmentation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85AFCE6A-BF22-4170-815D-7EF499F65EF0}" type="parTrans" cxnId="{DC170AE6-9D25-4766-96EF-D6F97341B211}">
      <dgm:prSet/>
      <dgm:spPr>
        <a:xfrm>
          <a:off x="5513890" y="743509"/>
          <a:ext cx="107984" cy="17547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E30E0697-4E6D-4806-BC31-C42F57F7EF8F}" type="sibTrans" cxnId="{DC170AE6-9D25-4766-96EF-D6F97341B211}">
      <dgm:prSet/>
      <dgm:spPr/>
      <dgm:t>
        <a:bodyPr/>
        <a:lstStyle/>
        <a:p>
          <a:endParaRPr lang="en-IN"/>
        </a:p>
      </dgm:t>
    </dgm:pt>
    <dgm:pt modelId="{4EE19412-26A8-4ED5-B966-33E19BC79577}">
      <dgm:prSet/>
      <dgm:spPr>
        <a:xfrm>
          <a:off x="6755707" y="203588"/>
          <a:ext cx="1079841" cy="539920"/>
        </a:xfrm>
        <a:solidFill>
          <a:srgbClr val="989AAC">
            <a:hueOff val="-13003161"/>
            <a:satOff val="61689"/>
            <a:lumOff val="-13333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US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Composite Reports</a:t>
          </a:r>
          <a:endParaRPr lang="en-IN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D80E1E09-0350-499B-8C89-6D5D69117B0A}" type="parTrans" cxnId="{A93CC1D6-0E9C-4CA3-A969-F2069DC35A8A}">
      <dgm:prSet/>
      <dgm:spPr/>
      <dgm:t>
        <a:bodyPr/>
        <a:lstStyle/>
        <a:p>
          <a:endParaRPr lang="en-IN"/>
        </a:p>
      </dgm:t>
    </dgm:pt>
    <dgm:pt modelId="{4A59F247-34C9-4F12-AB4E-39DF7DA559BE}" type="sibTrans" cxnId="{A93CC1D6-0E9C-4CA3-A969-F2069DC35A8A}">
      <dgm:prSet/>
      <dgm:spPr/>
      <dgm:t>
        <a:bodyPr/>
        <a:lstStyle/>
        <a:p>
          <a:endParaRPr lang="en-IN"/>
        </a:p>
      </dgm:t>
    </dgm:pt>
    <dgm:pt modelId="{480E4FED-439C-4CB1-878A-D540ACE762EB}">
      <dgm:prSet/>
      <dgm:spPr>
        <a:xfrm>
          <a:off x="6971676" y="878489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1269406"/>
              <a:satOff val="53464"/>
              <a:lumOff val="-11555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de  churn  and  rate  of  increase  of quality  issues,  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7640D3C0-DCCE-4249-B95C-25C744D4D4CA}" type="parTrans" cxnId="{D5D42A12-7CEC-4BF1-93A9-170B63BF1DCC}">
      <dgm:prSet/>
      <dgm:spPr>
        <a:xfrm>
          <a:off x="6863691" y="743509"/>
          <a:ext cx="107984" cy="404940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4B96F319-496D-46D7-9CC0-E28231CFACAD}" type="sibTrans" cxnId="{D5D42A12-7CEC-4BF1-93A9-170B63BF1DCC}">
      <dgm:prSet/>
      <dgm:spPr/>
      <dgm:t>
        <a:bodyPr/>
        <a:lstStyle/>
        <a:p>
          <a:endParaRPr lang="en-IN"/>
        </a:p>
      </dgm:t>
    </dgm:pt>
    <dgm:pt modelId="{6F9410A9-CAF1-49D2-BDEE-2721A29AD77A}">
      <dgm:prSet/>
      <dgm:spPr>
        <a:xfrm>
          <a:off x="6971676" y="15533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2136284"/>
              <a:satOff val="57576"/>
              <a:lumOff val="-12444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de  churn  and  QCTE 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268025EF-02B5-4485-A703-6422B9193BE4}" type="parTrans" cxnId="{7F7CA5FF-4F0B-47DD-9DD9-78861D19E524}">
      <dgm:prSet/>
      <dgm:spPr>
        <a:xfrm>
          <a:off x="6863691" y="743509"/>
          <a:ext cx="107984" cy="10798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68800202-62E5-466F-9654-792C1121306D}" type="sibTrans" cxnId="{7F7CA5FF-4F0B-47DD-9DD9-78861D19E524}">
      <dgm:prSet/>
      <dgm:spPr/>
      <dgm:t>
        <a:bodyPr/>
        <a:lstStyle/>
        <a:p>
          <a:endParaRPr lang="en-IN"/>
        </a:p>
      </dgm:t>
    </dgm:pt>
    <dgm:pt modelId="{378AEB84-75E5-453B-833B-70359C3F9B69}">
      <dgm:prSet/>
      <dgm:spPr>
        <a:xfrm>
          <a:off x="6971676" y="2228290"/>
          <a:ext cx="863872" cy="539920"/>
        </a:xfr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3003161"/>
              <a:satOff val="61689"/>
              <a:lumOff val="-13333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IN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de  churn and CQI</a:t>
          </a:r>
          <a:endParaRPr lang="en-IN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D64239DD-85F4-465D-8ED3-453A9F6309BC}" type="parTrans" cxnId="{DF3CFE51-E41C-4433-A655-E720C2C7A236}">
      <dgm:prSet/>
      <dgm:spPr>
        <a:xfrm>
          <a:off x="6863691" y="743509"/>
          <a:ext cx="107984" cy="1754741"/>
        </a:xfr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IN"/>
        </a:p>
      </dgm:t>
    </dgm:pt>
    <dgm:pt modelId="{090A2BCE-D84B-4355-913C-00ECBF1F262D}" type="sibTrans" cxnId="{DF3CFE51-E41C-4433-A655-E720C2C7A236}">
      <dgm:prSet/>
      <dgm:spPr/>
      <dgm:t>
        <a:bodyPr/>
        <a:lstStyle/>
        <a:p>
          <a:endParaRPr lang="en-IN"/>
        </a:p>
      </dgm:t>
    </dgm:pt>
    <dgm:pt modelId="{D6FBBEC8-A83F-4BFB-9D97-87BDFC399597}" type="pres">
      <dgm:prSet presAssocID="{5B3A1B82-B70A-4D36-802B-77FB8946AB9B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IN"/>
        </a:p>
      </dgm:t>
    </dgm:pt>
    <dgm:pt modelId="{CF9D8775-A011-4167-B2D8-C0F60B950D10}" type="pres">
      <dgm:prSet presAssocID="{BDB6E401-4D40-42D5-A090-24F90C3C20F0}" presName="root" presStyleCnt="0"/>
      <dgm:spPr/>
    </dgm:pt>
    <dgm:pt modelId="{F1777C9B-29A2-43BC-B445-98DCD8603512}" type="pres">
      <dgm:prSet presAssocID="{BDB6E401-4D40-42D5-A090-24F90C3C20F0}" presName="rootComposite" presStyleCnt="0"/>
      <dgm:spPr/>
    </dgm:pt>
    <dgm:pt modelId="{54D2B1CA-95C8-4CB1-AF7D-0E085873DA17}" type="pres">
      <dgm:prSet presAssocID="{BDB6E401-4D40-42D5-A090-24F90C3C20F0}" presName="rootText" presStyleLbl="node1" presStyleIdx="0" presStyleCnt="6"/>
      <dgm:spPr/>
      <dgm:t>
        <a:bodyPr/>
        <a:lstStyle/>
        <a:p>
          <a:endParaRPr lang="en-IN"/>
        </a:p>
      </dgm:t>
    </dgm:pt>
    <dgm:pt modelId="{93C18466-C5EB-4777-AD30-6D71B2D2503A}" type="pres">
      <dgm:prSet presAssocID="{BDB6E401-4D40-42D5-A090-24F90C3C20F0}" presName="rootConnector" presStyleLbl="node1" presStyleIdx="0" presStyleCnt="6"/>
      <dgm:spPr/>
      <dgm:t>
        <a:bodyPr/>
        <a:lstStyle/>
        <a:p>
          <a:endParaRPr lang="en-IN"/>
        </a:p>
      </dgm:t>
    </dgm:pt>
    <dgm:pt modelId="{34FB4168-32A9-4B17-88FF-EC3A776B7C2B}" type="pres">
      <dgm:prSet presAssocID="{BDB6E401-4D40-42D5-A090-24F90C3C20F0}" presName="childShape" presStyleCnt="0"/>
      <dgm:spPr/>
    </dgm:pt>
    <dgm:pt modelId="{236DCD62-1DC0-40AD-8F62-F685A9F84428}" type="pres">
      <dgm:prSet presAssocID="{BC729F08-4636-4D55-8AB8-CAEE08F21215}" presName="Name13" presStyleLbl="parChTrans1D2" presStyleIdx="0" presStyleCnt="16"/>
      <dgm:spPr/>
      <dgm:t>
        <a:bodyPr/>
        <a:lstStyle/>
        <a:p>
          <a:endParaRPr lang="en-IN"/>
        </a:p>
      </dgm:t>
    </dgm:pt>
    <dgm:pt modelId="{2D6F0A6F-56C4-46F8-A175-88D40BB2DDD3}" type="pres">
      <dgm:prSet presAssocID="{D31D431A-ACCC-4B8F-BA71-75B3B5A90572}" presName="childText" presStyleLbl="bgAcc1" presStyleIdx="0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D4C0702-9675-4B54-850D-2F6AA2DB1B22}" type="pres">
      <dgm:prSet presAssocID="{DB4A3400-8521-4AD9-9EDA-CAEDCFC6EA43}" presName="Name13" presStyleLbl="parChTrans1D2" presStyleIdx="1" presStyleCnt="16"/>
      <dgm:spPr/>
      <dgm:t>
        <a:bodyPr/>
        <a:lstStyle/>
        <a:p>
          <a:endParaRPr lang="en-IN"/>
        </a:p>
      </dgm:t>
    </dgm:pt>
    <dgm:pt modelId="{D3880765-72DD-4A38-B00C-A68DC8AFAA51}" type="pres">
      <dgm:prSet presAssocID="{6665E63A-35ED-48B1-B861-92F1B61E1E41}" presName="childText" presStyleLbl="bgAcc1" presStyleIdx="1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A9AE07B-829F-4AE8-81D3-E0F11334A0D2}" type="pres">
      <dgm:prSet presAssocID="{B8B448CD-7FA3-4BF7-BB6D-BF9F0F178A1F}" presName="Name13" presStyleLbl="parChTrans1D2" presStyleIdx="2" presStyleCnt="16"/>
      <dgm:spPr/>
      <dgm:t>
        <a:bodyPr/>
        <a:lstStyle/>
        <a:p>
          <a:endParaRPr lang="en-IN"/>
        </a:p>
      </dgm:t>
    </dgm:pt>
    <dgm:pt modelId="{10974AD2-504F-4E24-A992-8BF1768000C1}" type="pres">
      <dgm:prSet presAssocID="{DD8B3B35-265E-4D9D-821C-E04D33C6B8B9}" presName="childText" presStyleLbl="bgAcc1" presStyleIdx="2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65C04C9-FB94-4153-A5F5-6D440D09E552}" type="pres">
      <dgm:prSet presAssocID="{8E2E6D9F-E1D6-445C-8B4A-2AC3CEE605ED}" presName="root" presStyleCnt="0"/>
      <dgm:spPr/>
    </dgm:pt>
    <dgm:pt modelId="{BD83EEC8-E79A-4F78-9E0C-CDCA6FCCFBFA}" type="pres">
      <dgm:prSet presAssocID="{8E2E6D9F-E1D6-445C-8B4A-2AC3CEE605ED}" presName="rootComposite" presStyleCnt="0"/>
      <dgm:spPr/>
    </dgm:pt>
    <dgm:pt modelId="{6DF14B5A-EDE2-4F08-8061-7C726623E8B1}" type="pres">
      <dgm:prSet presAssocID="{8E2E6D9F-E1D6-445C-8B4A-2AC3CEE605ED}" presName="rootText" presStyleLbl="node1" presStyleIdx="1" presStyleCnt="6"/>
      <dgm:spPr/>
      <dgm:t>
        <a:bodyPr/>
        <a:lstStyle/>
        <a:p>
          <a:endParaRPr lang="en-IN"/>
        </a:p>
      </dgm:t>
    </dgm:pt>
    <dgm:pt modelId="{87D8DFDD-5FD3-4716-AF2E-55922FA677FC}" type="pres">
      <dgm:prSet presAssocID="{8E2E6D9F-E1D6-445C-8B4A-2AC3CEE605ED}" presName="rootConnector" presStyleLbl="node1" presStyleIdx="1" presStyleCnt="6"/>
      <dgm:spPr/>
      <dgm:t>
        <a:bodyPr/>
        <a:lstStyle/>
        <a:p>
          <a:endParaRPr lang="en-IN"/>
        </a:p>
      </dgm:t>
    </dgm:pt>
    <dgm:pt modelId="{EEE58444-FD6E-4448-A9A7-9D3B18FC1B48}" type="pres">
      <dgm:prSet presAssocID="{8E2E6D9F-E1D6-445C-8B4A-2AC3CEE605ED}" presName="childShape" presStyleCnt="0"/>
      <dgm:spPr/>
    </dgm:pt>
    <dgm:pt modelId="{9095AD6F-2C87-4F19-98FD-9FABD8F4108D}" type="pres">
      <dgm:prSet presAssocID="{A0CDB120-171F-4AAD-BB2D-2EAD84EFBE06}" presName="Name13" presStyleLbl="parChTrans1D2" presStyleIdx="3" presStyleCnt="16"/>
      <dgm:spPr/>
      <dgm:t>
        <a:bodyPr/>
        <a:lstStyle/>
        <a:p>
          <a:endParaRPr lang="en-IN"/>
        </a:p>
      </dgm:t>
    </dgm:pt>
    <dgm:pt modelId="{7815413A-A93D-467F-94C9-47CCB8E7D366}" type="pres">
      <dgm:prSet presAssocID="{080E6F07-8B38-4FA7-AF7E-54DF7F086FE0}" presName="childText" presStyleLbl="bgAcc1" presStyleIdx="3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1D4FAD6-4452-4418-BA7D-8A48D98A3152}" type="pres">
      <dgm:prSet presAssocID="{BCAF971A-558D-47D2-92B2-079CD3556D2A}" presName="Name13" presStyleLbl="parChTrans1D2" presStyleIdx="4" presStyleCnt="16"/>
      <dgm:spPr/>
      <dgm:t>
        <a:bodyPr/>
        <a:lstStyle/>
        <a:p>
          <a:endParaRPr lang="en-IN"/>
        </a:p>
      </dgm:t>
    </dgm:pt>
    <dgm:pt modelId="{A3E6A24F-4B7B-4F11-8FD4-2FB33C20FCBF}" type="pres">
      <dgm:prSet presAssocID="{CF379E45-ACB4-4736-B146-6B115846D1C4}" presName="childText" presStyleLbl="bgAcc1" presStyleIdx="4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6E07F22-DBDF-4CA3-A9DF-390F411C1AA9}" type="pres">
      <dgm:prSet presAssocID="{0E80E028-7CFF-475F-9485-3E5A079CC232}" presName="Name13" presStyleLbl="parChTrans1D2" presStyleIdx="5" presStyleCnt="16"/>
      <dgm:spPr/>
      <dgm:t>
        <a:bodyPr/>
        <a:lstStyle/>
        <a:p>
          <a:endParaRPr lang="en-IN"/>
        </a:p>
      </dgm:t>
    </dgm:pt>
    <dgm:pt modelId="{C5EA239D-358B-4796-82BF-9CDF6E15AE38}" type="pres">
      <dgm:prSet presAssocID="{8980752F-00A0-4667-860E-10E7FF4C8688}" presName="childText" presStyleLbl="bgAcc1" presStyleIdx="5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A6960C3-68E2-4D2E-A2E6-0FE3F5841355}" type="pres">
      <dgm:prSet presAssocID="{52E4E86E-081A-44B6-8EDE-647B77AFD92B}" presName="root" presStyleCnt="0"/>
      <dgm:spPr/>
    </dgm:pt>
    <dgm:pt modelId="{FF6FF7BD-79D7-498C-8E8F-E3DF35571954}" type="pres">
      <dgm:prSet presAssocID="{52E4E86E-081A-44B6-8EDE-647B77AFD92B}" presName="rootComposite" presStyleCnt="0"/>
      <dgm:spPr/>
    </dgm:pt>
    <dgm:pt modelId="{0398260D-6438-4E55-BCD2-A00A5E42A93A}" type="pres">
      <dgm:prSet presAssocID="{52E4E86E-081A-44B6-8EDE-647B77AFD92B}" presName="rootText" presStyleLbl="node1" presStyleIdx="2" presStyleCnt="6"/>
      <dgm:spPr/>
      <dgm:t>
        <a:bodyPr/>
        <a:lstStyle/>
        <a:p>
          <a:endParaRPr lang="en-IN"/>
        </a:p>
      </dgm:t>
    </dgm:pt>
    <dgm:pt modelId="{A022A51A-4D5C-488E-9A64-62570AEBD89E}" type="pres">
      <dgm:prSet presAssocID="{52E4E86E-081A-44B6-8EDE-647B77AFD92B}" presName="rootConnector" presStyleLbl="node1" presStyleIdx="2" presStyleCnt="6"/>
      <dgm:spPr/>
      <dgm:t>
        <a:bodyPr/>
        <a:lstStyle/>
        <a:p>
          <a:endParaRPr lang="en-IN"/>
        </a:p>
      </dgm:t>
    </dgm:pt>
    <dgm:pt modelId="{CEC6AC72-9D02-4F81-A418-885933478523}" type="pres">
      <dgm:prSet presAssocID="{52E4E86E-081A-44B6-8EDE-647B77AFD92B}" presName="childShape" presStyleCnt="0"/>
      <dgm:spPr/>
    </dgm:pt>
    <dgm:pt modelId="{74FDE9A4-3863-42ED-BB24-5E56B0F71B13}" type="pres">
      <dgm:prSet presAssocID="{53203700-AA1B-450A-AD0E-02BBD36C5AE3}" presName="Name13" presStyleLbl="parChTrans1D2" presStyleIdx="6" presStyleCnt="16"/>
      <dgm:spPr/>
      <dgm:t>
        <a:bodyPr/>
        <a:lstStyle/>
        <a:p>
          <a:endParaRPr lang="en-IN"/>
        </a:p>
      </dgm:t>
    </dgm:pt>
    <dgm:pt modelId="{85AAD282-4B45-4219-8EFC-1A3DB6DF0EFD}" type="pres">
      <dgm:prSet presAssocID="{6EC2AD6E-080F-4D29-BDE1-590CADF3C047}" presName="childText" presStyleLbl="bgAcc1" presStyleIdx="6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697F71C-2ACC-4E34-A0B1-5081C3C52F8B}" type="pres">
      <dgm:prSet presAssocID="{B3D4237E-C010-468D-B7FF-10B665A5BB76}" presName="root" presStyleCnt="0"/>
      <dgm:spPr/>
    </dgm:pt>
    <dgm:pt modelId="{1BD10F7F-9FA4-4DCA-950B-2A45D063954C}" type="pres">
      <dgm:prSet presAssocID="{B3D4237E-C010-468D-B7FF-10B665A5BB76}" presName="rootComposite" presStyleCnt="0"/>
      <dgm:spPr/>
    </dgm:pt>
    <dgm:pt modelId="{DC3CFF5F-EFB1-490A-BECF-9CA27C76B1CE}" type="pres">
      <dgm:prSet presAssocID="{B3D4237E-C010-468D-B7FF-10B665A5BB76}" presName="rootText" presStyleLbl="node1" presStyleIdx="3" presStyleCnt="6"/>
      <dgm:spPr/>
      <dgm:t>
        <a:bodyPr/>
        <a:lstStyle/>
        <a:p>
          <a:endParaRPr lang="en-IN"/>
        </a:p>
      </dgm:t>
    </dgm:pt>
    <dgm:pt modelId="{411E69EB-9061-463D-87E7-E68F658E5F96}" type="pres">
      <dgm:prSet presAssocID="{B3D4237E-C010-468D-B7FF-10B665A5BB76}" presName="rootConnector" presStyleLbl="node1" presStyleIdx="3" presStyleCnt="6"/>
      <dgm:spPr/>
      <dgm:t>
        <a:bodyPr/>
        <a:lstStyle/>
        <a:p>
          <a:endParaRPr lang="en-IN"/>
        </a:p>
      </dgm:t>
    </dgm:pt>
    <dgm:pt modelId="{1543C605-73D3-4E68-B4F1-F35104CC572C}" type="pres">
      <dgm:prSet presAssocID="{B3D4237E-C010-468D-B7FF-10B665A5BB76}" presName="childShape" presStyleCnt="0"/>
      <dgm:spPr/>
    </dgm:pt>
    <dgm:pt modelId="{C15F07A2-B854-4D39-8EBD-07CA762DEA26}" type="pres">
      <dgm:prSet presAssocID="{A0E1168E-35E4-47A4-A15F-B2A11B28ACE6}" presName="Name13" presStyleLbl="parChTrans1D2" presStyleIdx="7" presStyleCnt="16"/>
      <dgm:spPr/>
      <dgm:t>
        <a:bodyPr/>
        <a:lstStyle/>
        <a:p>
          <a:endParaRPr lang="en-IN"/>
        </a:p>
      </dgm:t>
    </dgm:pt>
    <dgm:pt modelId="{76569AFE-FD59-4F6D-85F7-9C9FC9B60995}" type="pres">
      <dgm:prSet presAssocID="{7249EF86-BB4A-42B6-8F8B-B6F0E27802A4}" presName="childText" presStyleLbl="bgAcc1" presStyleIdx="7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4D814B1-4DAD-4885-8FE1-C9B9F40E78C5}" type="pres">
      <dgm:prSet presAssocID="{3A971E22-4390-4592-8091-A77631A6AC4E}" presName="Name13" presStyleLbl="parChTrans1D2" presStyleIdx="8" presStyleCnt="16"/>
      <dgm:spPr/>
      <dgm:t>
        <a:bodyPr/>
        <a:lstStyle/>
        <a:p>
          <a:endParaRPr lang="en-IN"/>
        </a:p>
      </dgm:t>
    </dgm:pt>
    <dgm:pt modelId="{335A8287-95F1-4140-8EFE-3B3EBED975D2}" type="pres">
      <dgm:prSet presAssocID="{154DE925-5870-4061-8C8A-BFF0A5E514E6}" presName="childText" presStyleLbl="bgAcc1" presStyleIdx="8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BBCD323-5077-4370-8DB0-3DB8A655022B}" type="pres">
      <dgm:prSet presAssocID="{FE4E3924-9FAD-4840-8011-8808D91CE590}" presName="Name13" presStyleLbl="parChTrans1D2" presStyleIdx="9" presStyleCnt="16"/>
      <dgm:spPr/>
      <dgm:t>
        <a:bodyPr/>
        <a:lstStyle/>
        <a:p>
          <a:endParaRPr lang="en-IN"/>
        </a:p>
      </dgm:t>
    </dgm:pt>
    <dgm:pt modelId="{9168AD88-E312-4599-860C-046FA67DAB83}" type="pres">
      <dgm:prSet presAssocID="{7673AD98-8DFA-459E-AC8A-2D7A2A60B8CD}" presName="childText" presStyleLbl="bgAcc1" presStyleIdx="9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CE48231-5E5D-4C7D-AF90-C4809CB93855}" type="pres">
      <dgm:prSet presAssocID="{AA2E428B-61BE-453E-A46E-ED15EB3F2360}" presName="root" presStyleCnt="0"/>
      <dgm:spPr/>
    </dgm:pt>
    <dgm:pt modelId="{C44297D4-E7A6-4906-AC80-8DD7C321161C}" type="pres">
      <dgm:prSet presAssocID="{AA2E428B-61BE-453E-A46E-ED15EB3F2360}" presName="rootComposite" presStyleCnt="0"/>
      <dgm:spPr/>
    </dgm:pt>
    <dgm:pt modelId="{E8A58551-1505-4117-978F-505F7A9CF408}" type="pres">
      <dgm:prSet presAssocID="{AA2E428B-61BE-453E-A46E-ED15EB3F2360}" presName="rootText" presStyleLbl="node1" presStyleIdx="4" presStyleCnt="6"/>
      <dgm:spPr/>
      <dgm:t>
        <a:bodyPr/>
        <a:lstStyle/>
        <a:p>
          <a:endParaRPr lang="en-IN"/>
        </a:p>
      </dgm:t>
    </dgm:pt>
    <dgm:pt modelId="{A6C68D7F-AB28-449B-8EE2-B6C0E9742C9B}" type="pres">
      <dgm:prSet presAssocID="{AA2E428B-61BE-453E-A46E-ED15EB3F2360}" presName="rootConnector" presStyleLbl="node1" presStyleIdx="4" presStyleCnt="6"/>
      <dgm:spPr/>
      <dgm:t>
        <a:bodyPr/>
        <a:lstStyle/>
        <a:p>
          <a:endParaRPr lang="en-IN"/>
        </a:p>
      </dgm:t>
    </dgm:pt>
    <dgm:pt modelId="{20F34C0A-BEEB-4E8A-BDEB-E0ABF6721FB5}" type="pres">
      <dgm:prSet presAssocID="{AA2E428B-61BE-453E-A46E-ED15EB3F2360}" presName="childShape" presStyleCnt="0"/>
      <dgm:spPr/>
    </dgm:pt>
    <dgm:pt modelId="{E63CF7F2-3477-4012-8382-0D6733921D11}" type="pres">
      <dgm:prSet presAssocID="{8E6B3A93-5333-4AFE-B32D-546223D1C9C0}" presName="Name13" presStyleLbl="parChTrans1D2" presStyleIdx="10" presStyleCnt="16"/>
      <dgm:spPr/>
      <dgm:t>
        <a:bodyPr/>
        <a:lstStyle/>
        <a:p>
          <a:endParaRPr lang="en-IN"/>
        </a:p>
      </dgm:t>
    </dgm:pt>
    <dgm:pt modelId="{97902051-D898-4D99-92F6-2A31A83731BE}" type="pres">
      <dgm:prSet presAssocID="{D19C60DC-4A81-4AD8-AAC5-6794773D2980}" presName="childText" presStyleLbl="bgAcc1" presStyleIdx="10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28B6CF6-C51D-4C13-94AF-11F74ED6E7D9}" type="pres">
      <dgm:prSet presAssocID="{EB2406BB-6707-4916-8A80-7636FEF9DB25}" presName="Name13" presStyleLbl="parChTrans1D2" presStyleIdx="11" presStyleCnt="16"/>
      <dgm:spPr/>
      <dgm:t>
        <a:bodyPr/>
        <a:lstStyle/>
        <a:p>
          <a:endParaRPr lang="en-IN"/>
        </a:p>
      </dgm:t>
    </dgm:pt>
    <dgm:pt modelId="{9D90CF9B-E43F-4F6E-8F26-E8FB3CB636EB}" type="pres">
      <dgm:prSet presAssocID="{0DBD62A7-E312-4CA6-A349-908BE4AF0F72}" presName="childText" presStyleLbl="bgAcc1" presStyleIdx="11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83F64A8-4A88-4C58-A68C-5E3E8C5D16B2}" type="pres">
      <dgm:prSet presAssocID="{85AFCE6A-BF22-4170-815D-7EF499F65EF0}" presName="Name13" presStyleLbl="parChTrans1D2" presStyleIdx="12" presStyleCnt="16"/>
      <dgm:spPr/>
      <dgm:t>
        <a:bodyPr/>
        <a:lstStyle/>
        <a:p>
          <a:endParaRPr lang="en-IN"/>
        </a:p>
      </dgm:t>
    </dgm:pt>
    <dgm:pt modelId="{BE1685E7-0A3F-48F6-B542-FDEFF91ADCCF}" type="pres">
      <dgm:prSet presAssocID="{579FBC5F-6EF5-42FA-BAB3-6AB8570DF49B}" presName="childText" presStyleLbl="bgAcc1" presStyleIdx="12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487C4C4-AF76-4F56-A727-D6725D123B83}" type="pres">
      <dgm:prSet presAssocID="{4EE19412-26A8-4ED5-B966-33E19BC79577}" presName="root" presStyleCnt="0"/>
      <dgm:spPr/>
    </dgm:pt>
    <dgm:pt modelId="{F9F92D38-BA74-4388-A46B-BF00147F8EAC}" type="pres">
      <dgm:prSet presAssocID="{4EE19412-26A8-4ED5-B966-33E19BC79577}" presName="rootComposite" presStyleCnt="0"/>
      <dgm:spPr/>
    </dgm:pt>
    <dgm:pt modelId="{1AC3E5DF-91EE-4487-93A5-7726E57B26E5}" type="pres">
      <dgm:prSet presAssocID="{4EE19412-26A8-4ED5-B966-33E19BC79577}" presName="rootText" presStyleLbl="node1" presStyleIdx="5" presStyleCnt="6"/>
      <dgm:spPr/>
      <dgm:t>
        <a:bodyPr/>
        <a:lstStyle/>
        <a:p>
          <a:endParaRPr lang="en-IN"/>
        </a:p>
      </dgm:t>
    </dgm:pt>
    <dgm:pt modelId="{72A7F7FC-54AF-42D4-86D6-34436D3CDD77}" type="pres">
      <dgm:prSet presAssocID="{4EE19412-26A8-4ED5-B966-33E19BC79577}" presName="rootConnector" presStyleLbl="node1" presStyleIdx="5" presStyleCnt="6"/>
      <dgm:spPr/>
      <dgm:t>
        <a:bodyPr/>
        <a:lstStyle/>
        <a:p>
          <a:endParaRPr lang="en-IN"/>
        </a:p>
      </dgm:t>
    </dgm:pt>
    <dgm:pt modelId="{50D98A5A-1CC3-46DC-93CF-24514507BEF4}" type="pres">
      <dgm:prSet presAssocID="{4EE19412-26A8-4ED5-B966-33E19BC79577}" presName="childShape" presStyleCnt="0"/>
      <dgm:spPr/>
    </dgm:pt>
    <dgm:pt modelId="{8037698F-8376-45AB-B4E6-73C66D091398}" type="pres">
      <dgm:prSet presAssocID="{7640D3C0-DCCE-4249-B95C-25C744D4D4CA}" presName="Name13" presStyleLbl="parChTrans1D2" presStyleIdx="13" presStyleCnt="16"/>
      <dgm:spPr/>
      <dgm:t>
        <a:bodyPr/>
        <a:lstStyle/>
        <a:p>
          <a:endParaRPr lang="en-IN"/>
        </a:p>
      </dgm:t>
    </dgm:pt>
    <dgm:pt modelId="{AA0E51E9-7D91-41D3-B31F-E91970EAC4EB}" type="pres">
      <dgm:prSet presAssocID="{480E4FED-439C-4CB1-878A-D540ACE762EB}" presName="childText" presStyleLbl="bgAcc1" presStyleIdx="13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CEF6BDC-BE1F-43B4-B79C-6056AF29A1E2}" type="pres">
      <dgm:prSet presAssocID="{268025EF-02B5-4485-A703-6422B9193BE4}" presName="Name13" presStyleLbl="parChTrans1D2" presStyleIdx="14" presStyleCnt="16"/>
      <dgm:spPr/>
      <dgm:t>
        <a:bodyPr/>
        <a:lstStyle/>
        <a:p>
          <a:endParaRPr lang="en-IN"/>
        </a:p>
      </dgm:t>
    </dgm:pt>
    <dgm:pt modelId="{42E744B1-5EED-452F-AF65-DC5BDC015F9E}" type="pres">
      <dgm:prSet presAssocID="{6F9410A9-CAF1-49D2-BDEE-2721A29AD77A}" presName="childText" presStyleLbl="bgAcc1" presStyleIdx="14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74A6951-CE7B-4FB6-A90E-F6EB9CA7F250}" type="pres">
      <dgm:prSet presAssocID="{D64239DD-85F4-465D-8ED3-453A9F6309BC}" presName="Name13" presStyleLbl="parChTrans1D2" presStyleIdx="15" presStyleCnt="16"/>
      <dgm:spPr/>
      <dgm:t>
        <a:bodyPr/>
        <a:lstStyle/>
        <a:p>
          <a:endParaRPr lang="en-IN"/>
        </a:p>
      </dgm:t>
    </dgm:pt>
    <dgm:pt modelId="{87FAF015-B2A8-4399-BAF9-EF33A03EB6F0}" type="pres">
      <dgm:prSet presAssocID="{378AEB84-75E5-453B-833B-70359C3F9B69}" presName="childText" presStyleLbl="bgAcc1" presStyleIdx="15" presStyleCnt="1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7CC302E7-795F-49C6-9906-9C5FBA4A7DFB}" type="presOf" srcId="{AA2E428B-61BE-453E-A46E-ED15EB3F2360}" destId="{A6C68D7F-AB28-449B-8EE2-B6C0E9742C9B}" srcOrd="1" destOrd="0" presId="urn:microsoft.com/office/officeart/2005/8/layout/hierarchy3"/>
    <dgm:cxn modelId="{2A4ED83C-33DB-4EFB-8C42-F9766E682C1B}" srcId="{5B3A1B82-B70A-4D36-802B-77FB8946AB9B}" destId="{BDB6E401-4D40-42D5-A090-24F90C3C20F0}" srcOrd="0" destOrd="0" parTransId="{42A33676-3C2D-40CA-9CC0-44FE8A6E5F41}" sibTransId="{75107084-ABB9-43A2-B7DD-F3ED426FE939}"/>
    <dgm:cxn modelId="{83EA331C-E6CA-43DB-A4AC-828EDAAF3B52}" type="presOf" srcId="{DB4A3400-8521-4AD9-9EDA-CAEDCFC6EA43}" destId="{AD4C0702-9675-4B54-850D-2F6AA2DB1B22}" srcOrd="0" destOrd="0" presId="urn:microsoft.com/office/officeart/2005/8/layout/hierarchy3"/>
    <dgm:cxn modelId="{67B2A2A8-4583-47E2-8511-2645862A464B}" srcId="{8E2E6D9F-E1D6-445C-8B4A-2AC3CEE605ED}" destId="{080E6F07-8B38-4FA7-AF7E-54DF7F086FE0}" srcOrd="0" destOrd="0" parTransId="{A0CDB120-171F-4AAD-BB2D-2EAD84EFBE06}" sibTransId="{4BC9C77E-6D3A-4E94-AA9A-0E9FA573D24E}"/>
    <dgm:cxn modelId="{0C343AD5-B743-40F6-AC84-36A7487D254D}" srcId="{8E2E6D9F-E1D6-445C-8B4A-2AC3CEE605ED}" destId="{CF379E45-ACB4-4736-B146-6B115846D1C4}" srcOrd="1" destOrd="0" parTransId="{BCAF971A-558D-47D2-92B2-079CD3556D2A}" sibTransId="{3A6E167F-01FD-435B-B057-15AEDDFF770B}"/>
    <dgm:cxn modelId="{74AAF502-0063-44DB-B47C-CB9F31232479}" type="presOf" srcId="{7673AD98-8DFA-459E-AC8A-2D7A2A60B8CD}" destId="{9168AD88-E312-4599-860C-046FA67DAB83}" srcOrd="0" destOrd="0" presId="urn:microsoft.com/office/officeart/2005/8/layout/hierarchy3"/>
    <dgm:cxn modelId="{72F5C8F5-9AAE-4B67-A531-EE732648F1E0}" srcId="{BDB6E401-4D40-42D5-A090-24F90C3C20F0}" destId="{DD8B3B35-265E-4D9D-821C-E04D33C6B8B9}" srcOrd="2" destOrd="0" parTransId="{B8B448CD-7FA3-4BF7-BB6D-BF9F0F178A1F}" sibTransId="{F4A17169-530C-4301-BB7D-19CEEA131470}"/>
    <dgm:cxn modelId="{F6184B2A-0520-4854-B90F-B186A07F9513}" type="presOf" srcId="{BDB6E401-4D40-42D5-A090-24F90C3C20F0}" destId="{54D2B1CA-95C8-4CB1-AF7D-0E085873DA17}" srcOrd="0" destOrd="0" presId="urn:microsoft.com/office/officeart/2005/8/layout/hierarchy3"/>
    <dgm:cxn modelId="{74C2A3DC-804E-4C16-A582-4F6283A986C0}" type="presOf" srcId="{6EC2AD6E-080F-4D29-BDE1-590CADF3C047}" destId="{85AAD282-4B45-4219-8EFC-1A3DB6DF0EFD}" srcOrd="0" destOrd="0" presId="urn:microsoft.com/office/officeart/2005/8/layout/hierarchy3"/>
    <dgm:cxn modelId="{B874688D-8622-4FD5-90B1-C9F4876B865C}" type="presOf" srcId="{8E6B3A93-5333-4AFE-B32D-546223D1C9C0}" destId="{E63CF7F2-3477-4012-8382-0D6733921D11}" srcOrd="0" destOrd="0" presId="urn:microsoft.com/office/officeart/2005/8/layout/hierarchy3"/>
    <dgm:cxn modelId="{077B448C-B8D2-4D12-AED5-39D5D24E770F}" srcId="{5B3A1B82-B70A-4D36-802B-77FB8946AB9B}" destId="{52E4E86E-081A-44B6-8EDE-647B77AFD92B}" srcOrd="2" destOrd="0" parTransId="{AEDB39E7-FD0D-48DA-9415-94F96D51EA92}" sibTransId="{01161F8F-75C4-4787-ABE2-74DBEDD67686}"/>
    <dgm:cxn modelId="{2C819335-3C6B-4F95-BB18-9F62C8655713}" type="presOf" srcId="{6F9410A9-CAF1-49D2-BDEE-2721A29AD77A}" destId="{42E744B1-5EED-452F-AF65-DC5BDC015F9E}" srcOrd="0" destOrd="0" presId="urn:microsoft.com/office/officeart/2005/8/layout/hierarchy3"/>
    <dgm:cxn modelId="{B591118D-258A-4EB5-B8B9-971672A7AD52}" type="presOf" srcId="{CF379E45-ACB4-4736-B146-6B115846D1C4}" destId="{A3E6A24F-4B7B-4F11-8FD4-2FB33C20FCBF}" srcOrd="0" destOrd="0" presId="urn:microsoft.com/office/officeart/2005/8/layout/hierarchy3"/>
    <dgm:cxn modelId="{3535C5B8-9FB2-409C-826B-DD5F3A3306B0}" srcId="{B3D4237E-C010-468D-B7FF-10B665A5BB76}" destId="{7673AD98-8DFA-459E-AC8A-2D7A2A60B8CD}" srcOrd="2" destOrd="0" parTransId="{FE4E3924-9FAD-4840-8011-8808D91CE590}" sibTransId="{C4420B5B-28C7-4FBC-9D54-6814C4430F82}"/>
    <dgm:cxn modelId="{C3789343-572D-4C2A-8DBF-C273809FBF44}" type="presOf" srcId="{154DE925-5870-4061-8C8A-BFF0A5E514E6}" destId="{335A8287-95F1-4140-8EFE-3B3EBED975D2}" srcOrd="0" destOrd="0" presId="urn:microsoft.com/office/officeart/2005/8/layout/hierarchy3"/>
    <dgm:cxn modelId="{BA2C0878-5783-4B95-AB62-ECF861685C5B}" type="presOf" srcId="{080E6F07-8B38-4FA7-AF7E-54DF7F086FE0}" destId="{7815413A-A93D-467F-94C9-47CCB8E7D366}" srcOrd="0" destOrd="0" presId="urn:microsoft.com/office/officeart/2005/8/layout/hierarchy3"/>
    <dgm:cxn modelId="{C6D90024-10D6-445B-8860-8F46218D38B2}" srcId="{5B3A1B82-B70A-4D36-802B-77FB8946AB9B}" destId="{B3D4237E-C010-468D-B7FF-10B665A5BB76}" srcOrd="3" destOrd="0" parTransId="{CF5269CF-D1B8-42E0-B352-42BEDF8CE593}" sibTransId="{C4D7E54A-B865-4357-9DBE-708A1F86F56D}"/>
    <dgm:cxn modelId="{A35587A3-7029-4B40-9C9E-E20EF19DB98E}" type="presOf" srcId="{378AEB84-75E5-453B-833B-70359C3F9B69}" destId="{87FAF015-B2A8-4399-BAF9-EF33A03EB6F0}" srcOrd="0" destOrd="0" presId="urn:microsoft.com/office/officeart/2005/8/layout/hierarchy3"/>
    <dgm:cxn modelId="{70EE0DC5-6EFB-4AE7-B8CA-982AFBCA76E8}" type="presOf" srcId="{A0E1168E-35E4-47A4-A15F-B2A11B28ACE6}" destId="{C15F07A2-B854-4D39-8EBD-07CA762DEA26}" srcOrd="0" destOrd="0" presId="urn:microsoft.com/office/officeart/2005/8/layout/hierarchy3"/>
    <dgm:cxn modelId="{C99B9E81-16B7-4C1E-995F-F54FE702A932}" type="presOf" srcId="{579FBC5F-6EF5-42FA-BAB3-6AB8570DF49B}" destId="{BE1685E7-0A3F-48F6-B542-FDEFF91ADCCF}" srcOrd="0" destOrd="0" presId="urn:microsoft.com/office/officeart/2005/8/layout/hierarchy3"/>
    <dgm:cxn modelId="{B069B53F-0977-4ED6-BE8D-F1FD8745F798}" type="presOf" srcId="{D31D431A-ACCC-4B8F-BA71-75B3B5A90572}" destId="{2D6F0A6F-56C4-46F8-A175-88D40BB2DDD3}" srcOrd="0" destOrd="0" presId="urn:microsoft.com/office/officeart/2005/8/layout/hierarchy3"/>
    <dgm:cxn modelId="{7677453A-0941-4B54-8EBC-4DF097418DC8}" type="presOf" srcId="{3A971E22-4390-4592-8091-A77631A6AC4E}" destId="{84D814B1-4DAD-4885-8FE1-C9B9F40E78C5}" srcOrd="0" destOrd="0" presId="urn:microsoft.com/office/officeart/2005/8/layout/hierarchy3"/>
    <dgm:cxn modelId="{EC03725A-9E66-4440-BF8D-9A96567542D0}" srcId="{5B3A1B82-B70A-4D36-802B-77FB8946AB9B}" destId="{AA2E428B-61BE-453E-A46E-ED15EB3F2360}" srcOrd="4" destOrd="0" parTransId="{84C51DFF-BFC9-40B9-85FF-339D9DDF8F7F}" sibTransId="{BCBEED38-054D-4AE2-B28F-B7653E1F604A}"/>
    <dgm:cxn modelId="{491B753E-EBCB-4219-8D55-84112BC20827}" srcId="{B3D4237E-C010-468D-B7FF-10B665A5BB76}" destId="{154DE925-5870-4061-8C8A-BFF0A5E514E6}" srcOrd="1" destOrd="0" parTransId="{3A971E22-4390-4592-8091-A77631A6AC4E}" sibTransId="{15E38F17-3D1A-4EFE-AF36-F1731B14B0D6}"/>
    <dgm:cxn modelId="{A94C2F61-08E7-4E3F-82B9-F67335C2BE5E}" type="presOf" srcId="{52E4E86E-081A-44B6-8EDE-647B77AFD92B}" destId="{0398260D-6438-4E55-BCD2-A00A5E42A93A}" srcOrd="0" destOrd="0" presId="urn:microsoft.com/office/officeart/2005/8/layout/hierarchy3"/>
    <dgm:cxn modelId="{AE488D74-149F-4083-9154-9446E10826E5}" type="presOf" srcId="{7640D3C0-DCCE-4249-B95C-25C744D4D4CA}" destId="{8037698F-8376-45AB-B4E6-73C66D091398}" srcOrd="0" destOrd="0" presId="urn:microsoft.com/office/officeart/2005/8/layout/hierarchy3"/>
    <dgm:cxn modelId="{A93CC1D6-0E9C-4CA3-A969-F2069DC35A8A}" srcId="{5B3A1B82-B70A-4D36-802B-77FB8946AB9B}" destId="{4EE19412-26A8-4ED5-B966-33E19BC79577}" srcOrd="5" destOrd="0" parTransId="{D80E1E09-0350-499B-8C89-6D5D69117B0A}" sibTransId="{4A59F247-34C9-4F12-AB4E-39DF7DA559BE}"/>
    <dgm:cxn modelId="{3926B227-1293-45F4-B9C7-E2C21EACFB76}" type="presOf" srcId="{B3D4237E-C010-468D-B7FF-10B665A5BB76}" destId="{411E69EB-9061-463D-87E7-E68F658E5F96}" srcOrd="1" destOrd="0" presId="urn:microsoft.com/office/officeart/2005/8/layout/hierarchy3"/>
    <dgm:cxn modelId="{D5D42A12-7CEC-4BF1-93A9-170B63BF1DCC}" srcId="{4EE19412-26A8-4ED5-B966-33E19BC79577}" destId="{480E4FED-439C-4CB1-878A-D540ACE762EB}" srcOrd="0" destOrd="0" parTransId="{7640D3C0-DCCE-4249-B95C-25C744D4D4CA}" sibTransId="{4B96F319-496D-46D7-9CC0-E28231CFACAD}"/>
    <dgm:cxn modelId="{1459CBA6-F9A6-47FC-AE27-BE7B16F788AA}" srcId="{BDB6E401-4D40-42D5-A090-24F90C3C20F0}" destId="{6665E63A-35ED-48B1-B861-92F1B61E1E41}" srcOrd="1" destOrd="0" parTransId="{DB4A3400-8521-4AD9-9EDA-CAEDCFC6EA43}" sibTransId="{BC4AC579-8010-4618-91F4-B7BBBAFDF742}"/>
    <dgm:cxn modelId="{F94F6F5D-E7F7-46B7-B624-D50241F64418}" srcId="{BDB6E401-4D40-42D5-A090-24F90C3C20F0}" destId="{D31D431A-ACCC-4B8F-BA71-75B3B5A90572}" srcOrd="0" destOrd="0" parTransId="{BC729F08-4636-4D55-8AB8-CAEE08F21215}" sibTransId="{E893F1B3-42DE-4C98-93AA-2A190B7478E5}"/>
    <dgm:cxn modelId="{DF3CFE51-E41C-4433-A655-E720C2C7A236}" srcId="{4EE19412-26A8-4ED5-B966-33E19BC79577}" destId="{378AEB84-75E5-453B-833B-70359C3F9B69}" srcOrd="2" destOrd="0" parTransId="{D64239DD-85F4-465D-8ED3-453A9F6309BC}" sibTransId="{090A2BCE-D84B-4355-913C-00ECBF1F262D}"/>
    <dgm:cxn modelId="{21609010-7D2F-4D97-8B0F-118D54922174}" type="presOf" srcId="{5B3A1B82-B70A-4D36-802B-77FB8946AB9B}" destId="{D6FBBEC8-A83F-4BFB-9D97-87BDFC399597}" srcOrd="0" destOrd="0" presId="urn:microsoft.com/office/officeart/2005/8/layout/hierarchy3"/>
    <dgm:cxn modelId="{824DCB1D-F204-496E-B35C-CB57DD150E42}" type="presOf" srcId="{D64239DD-85F4-465D-8ED3-453A9F6309BC}" destId="{B74A6951-CE7B-4FB6-A90E-F6EB9CA7F250}" srcOrd="0" destOrd="0" presId="urn:microsoft.com/office/officeart/2005/8/layout/hierarchy3"/>
    <dgm:cxn modelId="{7703A5C3-EFCF-434E-BE05-8AC4F5FC6B5B}" type="presOf" srcId="{AA2E428B-61BE-453E-A46E-ED15EB3F2360}" destId="{E8A58551-1505-4117-978F-505F7A9CF408}" srcOrd="0" destOrd="0" presId="urn:microsoft.com/office/officeart/2005/8/layout/hierarchy3"/>
    <dgm:cxn modelId="{E60C56E7-E4B7-4C49-988B-2FC9B6071699}" type="presOf" srcId="{B3D4237E-C010-468D-B7FF-10B665A5BB76}" destId="{DC3CFF5F-EFB1-490A-BECF-9CA27C76B1CE}" srcOrd="0" destOrd="0" presId="urn:microsoft.com/office/officeart/2005/8/layout/hierarchy3"/>
    <dgm:cxn modelId="{6D6F7A23-5EA7-44C4-9E48-2310B45D85A6}" type="presOf" srcId="{BC729F08-4636-4D55-8AB8-CAEE08F21215}" destId="{236DCD62-1DC0-40AD-8F62-F685A9F84428}" srcOrd="0" destOrd="0" presId="urn:microsoft.com/office/officeart/2005/8/layout/hierarchy3"/>
    <dgm:cxn modelId="{704A108E-7AB0-4EF1-AD55-FC4B51610601}" type="presOf" srcId="{8E2E6D9F-E1D6-445C-8B4A-2AC3CEE605ED}" destId="{87D8DFDD-5FD3-4716-AF2E-55922FA677FC}" srcOrd="1" destOrd="0" presId="urn:microsoft.com/office/officeart/2005/8/layout/hierarchy3"/>
    <dgm:cxn modelId="{68464558-8101-44AE-A8D5-28CD6C6C709D}" type="presOf" srcId="{4EE19412-26A8-4ED5-B966-33E19BC79577}" destId="{1AC3E5DF-91EE-4487-93A5-7726E57B26E5}" srcOrd="0" destOrd="0" presId="urn:microsoft.com/office/officeart/2005/8/layout/hierarchy3"/>
    <dgm:cxn modelId="{38DB273F-FEE1-45E7-A803-42E07D94312F}" type="presOf" srcId="{52E4E86E-081A-44B6-8EDE-647B77AFD92B}" destId="{A022A51A-4D5C-488E-9A64-62570AEBD89E}" srcOrd="1" destOrd="0" presId="urn:microsoft.com/office/officeart/2005/8/layout/hierarchy3"/>
    <dgm:cxn modelId="{FCC1441A-8DD7-45B2-B628-369185E1035F}" type="presOf" srcId="{BDB6E401-4D40-42D5-A090-24F90C3C20F0}" destId="{93C18466-C5EB-4777-AD30-6D71B2D2503A}" srcOrd="1" destOrd="0" presId="urn:microsoft.com/office/officeart/2005/8/layout/hierarchy3"/>
    <dgm:cxn modelId="{34F42BE5-6F0D-48E6-81A7-3DDEA8E1EBCB}" srcId="{B3D4237E-C010-468D-B7FF-10B665A5BB76}" destId="{7249EF86-BB4A-42B6-8F8B-B6F0E27802A4}" srcOrd="0" destOrd="0" parTransId="{A0E1168E-35E4-47A4-A15F-B2A11B28ACE6}" sibTransId="{A3C7CCDE-192F-406C-8F09-54EF6EA86BDA}"/>
    <dgm:cxn modelId="{8CB9B998-11FE-4170-A8C1-1DF4DD8AB052}" type="presOf" srcId="{B8B448CD-7FA3-4BF7-BB6D-BF9F0F178A1F}" destId="{FA9AE07B-829F-4AE8-81D3-E0F11334A0D2}" srcOrd="0" destOrd="0" presId="urn:microsoft.com/office/officeart/2005/8/layout/hierarchy3"/>
    <dgm:cxn modelId="{D217F99E-0B21-4CDC-87D2-3086F9DC65D6}" type="presOf" srcId="{53203700-AA1B-450A-AD0E-02BBD36C5AE3}" destId="{74FDE9A4-3863-42ED-BB24-5E56B0F71B13}" srcOrd="0" destOrd="0" presId="urn:microsoft.com/office/officeart/2005/8/layout/hierarchy3"/>
    <dgm:cxn modelId="{E40C6357-D49E-4822-B7C5-E82FCC79041C}" type="presOf" srcId="{268025EF-02B5-4485-A703-6422B9193BE4}" destId="{BCEF6BDC-BE1F-43B4-B79C-6056AF29A1E2}" srcOrd="0" destOrd="0" presId="urn:microsoft.com/office/officeart/2005/8/layout/hierarchy3"/>
    <dgm:cxn modelId="{9DFC3706-5B44-41FC-B757-A42DA2428C9F}" type="presOf" srcId="{A0CDB120-171F-4AAD-BB2D-2EAD84EFBE06}" destId="{9095AD6F-2C87-4F19-98FD-9FABD8F4108D}" srcOrd="0" destOrd="0" presId="urn:microsoft.com/office/officeart/2005/8/layout/hierarchy3"/>
    <dgm:cxn modelId="{5FFCF0C9-0944-42AB-A13A-970EDA632565}" type="presOf" srcId="{0E80E028-7CFF-475F-9485-3E5A079CC232}" destId="{46E07F22-DBDF-4CA3-A9DF-390F411C1AA9}" srcOrd="0" destOrd="0" presId="urn:microsoft.com/office/officeart/2005/8/layout/hierarchy3"/>
    <dgm:cxn modelId="{7B68ED2D-E886-4DC8-8550-6F17B6DB945E}" type="presOf" srcId="{8980752F-00A0-4667-860E-10E7FF4C8688}" destId="{C5EA239D-358B-4796-82BF-9CDF6E15AE38}" srcOrd="0" destOrd="0" presId="urn:microsoft.com/office/officeart/2005/8/layout/hierarchy3"/>
    <dgm:cxn modelId="{7AF53863-0D05-47C9-A079-59112C1BC749}" type="presOf" srcId="{85AFCE6A-BF22-4170-815D-7EF499F65EF0}" destId="{583F64A8-4A88-4C58-A68C-5E3E8C5D16B2}" srcOrd="0" destOrd="0" presId="urn:microsoft.com/office/officeart/2005/8/layout/hierarchy3"/>
    <dgm:cxn modelId="{6F8A3753-18BB-4C6E-A906-C14EF159D929}" type="presOf" srcId="{480E4FED-439C-4CB1-878A-D540ACE762EB}" destId="{AA0E51E9-7D91-41D3-B31F-E91970EAC4EB}" srcOrd="0" destOrd="0" presId="urn:microsoft.com/office/officeart/2005/8/layout/hierarchy3"/>
    <dgm:cxn modelId="{3DD2C53C-7A26-41C1-B78C-C78BE31287E3}" srcId="{AA2E428B-61BE-453E-A46E-ED15EB3F2360}" destId="{0DBD62A7-E312-4CA6-A349-908BE4AF0F72}" srcOrd="1" destOrd="0" parTransId="{EB2406BB-6707-4916-8A80-7636FEF9DB25}" sibTransId="{AB4FE505-D843-4069-9A65-CEA760F92867}"/>
    <dgm:cxn modelId="{761C18AA-5042-4318-B31A-1A450A6A3DD1}" type="presOf" srcId="{D19C60DC-4A81-4AD8-AAC5-6794773D2980}" destId="{97902051-D898-4D99-92F6-2A31A83731BE}" srcOrd="0" destOrd="0" presId="urn:microsoft.com/office/officeart/2005/8/layout/hierarchy3"/>
    <dgm:cxn modelId="{4C4EB1D9-A770-4025-A346-51185D06D7B1}" type="presOf" srcId="{8E2E6D9F-E1D6-445C-8B4A-2AC3CEE605ED}" destId="{6DF14B5A-EDE2-4F08-8061-7C726623E8B1}" srcOrd="0" destOrd="0" presId="urn:microsoft.com/office/officeart/2005/8/layout/hierarchy3"/>
    <dgm:cxn modelId="{DC170AE6-9D25-4766-96EF-D6F97341B211}" srcId="{AA2E428B-61BE-453E-A46E-ED15EB3F2360}" destId="{579FBC5F-6EF5-42FA-BAB3-6AB8570DF49B}" srcOrd="2" destOrd="0" parTransId="{85AFCE6A-BF22-4170-815D-7EF499F65EF0}" sibTransId="{E30E0697-4E6D-4806-BC31-C42F57F7EF8F}"/>
    <dgm:cxn modelId="{74AB07EA-7A28-4262-8446-64070A68829A}" type="presOf" srcId="{4EE19412-26A8-4ED5-B966-33E19BC79577}" destId="{72A7F7FC-54AF-42D4-86D6-34436D3CDD77}" srcOrd="1" destOrd="0" presId="urn:microsoft.com/office/officeart/2005/8/layout/hierarchy3"/>
    <dgm:cxn modelId="{626DCC62-256C-4C9E-ABEE-86E3877189D3}" type="presOf" srcId="{7249EF86-BB4A-42B6-8F8B-B6F0E27802A4}" destId="{76569AFE-FD59-4F6D-85F7-9C9FC9B60995}" srcOrd="0" destOrd="0" presId="urn:microsoft.com/office/officeart/2005/8/layout/hierarchy3"/>
    <dgm:cxn modelId="{15D6D5DE-C521-4E4F-99C8-1071B3444A98}" type="presOf" srcId="{EB2406BB-6707-4916-8A80-7636FEF9DB25}" destId="{428B6CF6-C51D-4C13-94AF-11F74ED6E7D9}" srcOrd="0" destOrd="0" presId="urn:microsoft.com/office/officeart/2005/8/layout/hierarchy3"/>
    <dgm:cxn modelId="{D65C36E7-1A6A-4601-A9F9-23B38E6D9D10}" type="presOf" srcId="{BCAF971A-558D-47D2-92B2-079CD3556D2A}" destId="{81D4FAD6-4452-4418-BA7D-8A48D98A3152}" srcOrd="0" destOrd="0" presId="urn:microsoft.com/office/officeart/2005/8/layout/hierarchy3"/>
    <dgm:cxn modelId="{60671075-B777-456E-B200-8145D6242CFC}" type="presOf" srcId="{0DBD62A7-E312-4CA6-A349-908BE4AF0F72}" destId="{9D90CF9B-E43F-4F6E-8F26-E8FB3CB636EB}" srcOrd="0" destOrd="0" presId="urn:microsoft.com/office/officeart/2005/8/layout/hierarchy3"/>
    <dgm:cxn modelId="{7F7CA5FF-4F0B-47DD-9DD9-78861D19E524}" srcId="{4EE19412-26A8-4ED5-B966-33E19BC79577}" destId="{6F9410A9-CAF1-49D2-BDEE-2721A29AD77A}" srcOrd="1" destOrd="0" parTransId="{268025EF-02B5-4485-A703-6422B9193BE4}" sibTransId="{68800202-62E5-466F-9654-792C1121306D}"/>
    <dgm:cxn modelId="{F6196FF4-2276-44D1-AF8F-AE6A42D3BAB1}" srcId="{AA2E428B-61BE-453E-A46E-ED15EB3F2360}" destId="{D19C60DC-4A81-4AD8-AAC5-6794773D2980}" srcOrd="0" destOrd="0" parTransId="{8E6B3A93-5333-4AFE-B32D-546223D1C9C0}" sibTransId="{3C16374C-050E-4F12-AB19-2A63E9A3F416}"/>
    <dgm:cxn modelId="{8DC79525-753C-4EFF-B7ED-51A122637766}" srcId="{52E4E86E-081A-44B6-8EDE-647B77AFD92B}" destId="{6EC2AD6E-080F-4D29-BDE1-590CADF3C047}" srcOrd="0" destOrd="0" parTransId="{53203700-AA1B-450A-AD0E-02BBD36C5AE3}" sibTransId="{0140F749-CC3F-4EA3-987D-EA3900E10CE2}"/>
    <dgm:cxn modelId="{E98EA1A2-A387-4D3D-A984-3E2C8F5E833A}" type="presOf" srcId="{FE4E3924-9FAD-4840-8011-8808D91CE590}" destId="{6BBCD323-5077-4370-8DB0-3DB8A655022B}" srcOrd="0" destOrd="0" presId="urn:microsoft.com/office/officeart/2005/8/layout/hierarchy3"/>
    <dgm:cxn modelId="{9B7C324C-3972-486D-9824-841235BB9727}" type="presOf" srcId="{6665E63A-35ED-48B1-B861-92F1B61E1E41}" destId="{D3880765-72DD-4A38-B00C-A68DC8AFAA51}" srcOrd="0" destOrd="0" presId="urn:microsoft.com/office/officeart/2005/8/layout/hierarchy3"/>
    <dgm:cxn modelId="{502F1755-42C3-4B0C-B7ED-DDCB80029699}" type="presOf" srcId="{DD8B3B35-265E-4D9D-821C-E04D33C6B8B9}" destId="{10974AD2-504F-4E24-A992-8BF1768000C1}" srcOrd="0" destOrd="0" presId="urn:microsoft.com/office/officeart/2005/8/layout/hierarchy3"/>
    <dgm:cxn modelId="{7FC7F729-DA1D-44E0-8B77-0E8759D61985}" srcId="{5B3A1B82-B70A-4D36-802B-77FB8946AB9B}" destId="{8E2E6D9F-E1D6-445C-8B4A-2AC3CEE605ED}" srcOrd="1" destOrd="0" parTransId="{7B6C6AF3-BDBC-47ED-92F3-062B6EBAC9F0}" sibTransId="{B6B31E94-0457-40DA-97F2-42B1E2FAF72D}"/>
    <dgm:cxn modelId="{C34DC5D3-DAE0-4B89-90B1-C28688328F81}" srcId="{8E2E6D9F-E1D6-445C-8B4A-2AC3CEE605ED}" destId="{8980752F-00A0-4667-860E-10E7FF4C8688}" srcOrd="2" destOrd="0" parTransId="{0E80E028-7CFF-475F-9485-3E5A079CC232}" sibTransId="{126BDFEE-0930-4E85-BCC0-6D910E98E8F5}"/>
    <dgm:cxn modelId="{F9D773B9-2F2C-4027-917B-2D5003AB1940}" type="presParOf" srcId="{D6FBBEC8-A83F-4BFB-9D97-87BDFC399597}" destId="{CF9D8775-A011-4167-B2D8-C0F60B950D10}" srcOrd="0" destOrd="0" presId="urn:microsoft.com/office/officeart/2005/8/layout/hierarchy3"/>
    <dgm:cxn modelId="{7AFE4CBE-7314-4728-A83A-F6597159303A}" type="presParOf" srcId="{CF9D8775-A011-4167-B2D8-C0F60B950D10}" destId="{F1777C9B-29A2-43BC-B445-98DCD8603512}" srcOrd="0" destOrd="0" presId="urn:microsoft.com/office/officeart/2005/8/layout/hierarchy3"/>
    <dgm:cxn modelId="{D17AF572-3F1B-4E89-BFBF-9016B6A04E02}" type="presParOf" srcId="{F1777C9B-29A2-43BC-B445-98DCD8603512}" destId="{54D2B1CA-95C8-4CB1-AF7D-0E085873DA17}" srcOrd="0" destOrd="0" presId="urn:microsoft.com/office/officeart/2005/8/layout/hierarchy3"/>
    <dgm:cxn modelId="{4D164580-391A-4B33-ABF4-71E8E98ADAB4}" type="presParOf" srcId="{F1777C9B-29A2-43BC-B445-98DCD8603512}" destId="{93C18466-C5EB-4777-AD30-6D71B2D2503A}" srcOrd="1" destOrd="0" presId="urn:microsoft.com/office/officeart/2005/8/layout/hierarchy3"/>
    <dgm:cxn modelId="{1B44F53C-8B21-4A60-8604-FD916A222BA4}" type="presParOf" srcId="{CF9D8775-A011-4167-B2D8-C0F60B950D10}" destId="{34FB4168-32A9-4B17-88FF-EC3A776B7C2B}" srcOrd="1" destOrd="0" presId="urn:microsoft.com/office/officeart/2005/8/layout/hierarchy3"/>
    <dgm:cxn modelId="{F8FCABBB-F37D-4847-A7E6-A006F09EC26A}" type="presParOf" srcId="{34FB4168-32A9-4B17-88FF-EC3A776B7C2B}" destId="{236DCD62-1DC0-40AD-8F62-F685A9F84428}" srcOrd="0" destOrd="0" presId="urn:microsoft.com/office/officeart/2005/8/layout/hierarchy3"/>
    <dgm:cxn modelId="{41EF0C53-C3C6-401A-8F13-EEDC783A3D7E}" type="presParOf" srcId="{34FB4168-32A9-4B17-88FF-EC3A776B7C2B}" destId="{2D6F0A6F-56C4-46F8-A175-88D40BB2DDD3}" srcOrd="1" destOrd="0" presId="urn:microsoft.com/office/officeart/2005/8/layout/hierarchy3"/>
    <dgm:cxn modelId="{6C467063-9770-43F7-835A-D5E8D563034C}" type="presParOf" srcId="{34FB4168-32A9-4B17-88FF-EC3A776B7C2B}" destId="{AD4C0702-9675-4B54-850D-2F6AA2DB1B22}" srcOrd="2" destOrd="0" presId="urn:microsoft.com/office/officeart/2005/8/layout/hierarchy3"/>
    <dgm:cxn modelId="{240D036D-2C0F-4345-9CFC-00F9D6CFB413}" type="presParOf" srcId="{34FB4168-32A9-4B17-88FF-EC3A776B7C2B}" destId="{D3880765-72DD-4A38-B00C-A68DC8AFAA51}" srcOrd="3" destOrd="0" presId="urn:microsoft.com/office/officeart/2005/8/layout/hierarchy3"/>
    <dgm:cxn modelId="{9FBBAF0D-52B1-43A9-8255-6C65B0851D7E}" type="presParOf" srcId="{34FB4168-32A9-4B17-88FF-EC3A776B7C2B}" destId="{FA9AE07B-829F-4AE8-81D3-E0F11334A0D2}" srcOrd="4" destOrd="0" presId="urn:microsoft.com/office/officeart/2005/8/layout/hierarchy3"/>
    <dgm:cxn modelId="{3903DD18-2DA4-44E3-9684-5B7808E2CE1F}" type="presParOf" srcId="{34FB4168-32A9-4B17-88FF-EC3A776B7C2B}" destId="{10974AD2-504F-4E24-A992-8BF1768000C1}" srcOrd="5" destOrd="0" presId="urn:microsoft.com/office/officeart/2005/8/layout/hierarchy3"/>
    <dgm:cxn modelId="{56BB26A5-9378-4104-8E93-B6A8D6A6A6E0}" type="presParOf" srcId="{D6FBBEC8-A83F-4BFB-9D97-87BDFC399597}" destId="{565C04C9-FB94-4153-A5F5-6D440D09E552}" srcOrd="1" destOrd="0" presId="urn:microsoft.com/office/officeart/2005/8/layout/hierarchy3"/>
    <dgm:cxn modelId="{DB486F2E-AD26-4E94-8981-2860941670F1}" type="presParOf" srcId="{565C04C9-FB94-4153-A5F5-6D440D09E552}" destId="{BD83EEC8-E79A-4F78-9E0C-CDCA6FCCFBFA}" srcOrd="0" destOrd="0" presId="urn:microsoft.com/office/officeart/2005/8/layout/hierarchy3"/>
    <dgm:cxn modelId="{0CF4B0BC-27D1-486B-B7C3-0A66B510A377}" type="presParOf" srcId="{BD83EEC8-E79A-4F78-9E0C-CDCA6FCCFBFA}" destId="{6DF14B5A-EDE2-4F08-8061-7C726623E8B1}" srcOrd="0" destOrd="0" presId="urn:microsoft.com/office/officeart/2005/8/layout/hierarchy3"/>
    <dgm:cxn modelId="{148821E7-8B8E-4E3C-BDBF-E10B66C6AA1A}" type="presParOf" srcId="{BD83EEC8-E79A-4F78-9E0C-CDCA6FCCFBFA}" destId="{87D8DFDD-5FD3-4716-AF2E-55922FA677FC}" srcOrd="1" destOrd="0" presId="urn:microsoft.com/office/officeart/2005/8/layout/hierarchy3"/>
    <dgm:cxn modelId="{9A415A0F-724D-4530-A55B-1DF9B5113647}" type="presParOf" srcId="{565C04C9-FB94-4153-A5F5-6D440D09E552}" destId="{EEE58444-FD6E-4448-A9A7-9D3B18FC1B48}" srcOrd="1" destOrd="0" presId="urn:microsoft.com/office/officeart/2005/8/layout/hierarchy3"/>
    <dgm:cxn modelId="{663A1BF2-4263-44AD-AF0B-90D9C1FD1EE7}" type="presParOf" srcId="{EEE58444-FD6E-4448-A9A7-9D3B18FC1B48}" destId="{9095AD6F-2C87-4F19-98FD-9FABD8F4108D}" srcOrd="0" destOrd="0" presId="urn:microsoft.com/office/officeart/2005/8/layout/hierarchy3"/>
    <dgm:cxn modelId="{EB761747-5242-44EE-8B9B-4FEE8B73E97B}" type="presParOf" srcId="{EEE58444-FD6E-4448-A9A7-9D3B18FC1B48}" destId="{7815413A-A93D-467F-94C9-47CCB8E7D366}" srcOrd="1" destOrd="0" presId="urn:microsoft.com/office/officeart/2005/8/layout/hierarchy3"/>
    <dgm:cxn modelId="{89B9CF36-0DD2-4F8A-A768-52452F55EBD8}" type="presParOf" srcId="{EEE58444-FD6E-4448-A9A7-9D3B18FC1B48}" destId="{81D4FAD6-4452-4418-BA7D-8A48D98A3152}" srcOrd="2" destOrd="0" presId="urn:microsoft.com/office/officeart/2005/8/layout/hierarchy3"/>
    <dgm:cxn modelId="{A62168C3-6E8C-40AE-8DF4-574EAA5928F0}" type="presParOf" srcId="{EEE58444-FD6E-4448-A9A7-9D3B18FC1B48}" destId="{A3E6A24F-4B7B-4F11-8FD4-2FB33C20FCBF}" srcOrd="3" destOrd="0" presId="urn:microsoft.com/office/officeart/2005/8/layout/hierarchy3"/>
    <dgm:cxn modelId="{02803E58-6C54-4367-91FB-81D46F2FE669}" type="presParOf" srcId="{EEE58444-FD6E-4448-A9A7-9D3B18FC1B48}" destId="{46E07F22-DBDF-4CA3-A9DF-390F411C1AA9}" srcOrd="4" destOrd="0" presId="urn:microsoft.com/office/officeart/2005/8/layout/hierarchy3"/>
    <dgm:cxn modelId="{CF2489D3-CEED-46EF-81AC-9AF4EADB06F9}" type="presParOf" srcId="{EEE58444-FD6E-4448-A9A7-9D3B18FC1B48}" destId="{C5EA239D-358B-4796-82BF-9CDF6E15AE38}" srcOrd="5" destOrd="0" presId="urn:microsoft.com/office/officeart/2005/8/layout/hierarchy3"/>
    <dgm:cxn modelId="{2A258B90-8BB2-49E5-9CD2-6CB851AF3B23}" type="presParOf" srcId="{D6FBBEC8-A83F-4BFB-9D97-87BDFC399597}" destId="{8A6960C3-68E2-4D2E-A2E6-0FE3F5841355}" srcOrd="2" destOrd="0" presId="urn:microsoft.com/office/officeart/2005/8/layout/hierarchy3"/>
    <dgm:cxn modelId="{19F696E1-4146-43BC-AD1D-E270D46BD2A4}" type="presParOf" srcId="{8A6960C3-68E2-4D2E-A2E6-0FE3F5841355}" destId="{FF6FF7BD-79D7-498C-8E8F-E3DF35571954}" srcOrd="0" destOrd="0" presId="urn:microsoft.com/office/officeart/2005/8/layout/hierarchy3"/>
    <dgm:cxn modelId="{0EDC7036-F512-495A-8944-2EFEAA67E5D4}" type="presParOf" srcId="{FF6FF7BD-79D7-498C-8E8F-E3DF35571954}" destId="{0398260D-6438-4E55-BCD2-A00A5E42A93A}" srcOrd="0" destOrd="0" presId="urn:microsoft.com/office/officeart/2005/8/layout/hierarchy3"/>
    <dgm:cxn modelId="{89CC3AC1-86BE-4737-86A7-FFED9BB25C83}" type="presParOf" srcId="{FF6FF7BD-79D7-498C-8E8F-E3DF35571954}" destId="{A022A51A-4D5C-488E-9A64-62570AEBD89E}" srcOrd="1" destOrd="0" presId="urn:microsoft.com/office/officeart/2005/8/layout/hierarchy3"/>
    <dgm:cxn modelId="{18B1B333-8AEB-45C0-9298-BA6B0C98AD6A}" type="presParOf" srcId="{8A6960C3-68E2-4D2E-A2E6-0FE3F5841355}" destId="{CEC6AC72-9D02-4F81-A418-885933478523}" srcOrd="1" destOrd="0" presId="urn:microsoft.com/office/officeart/2005/8/layout/hierarchy3"/>
    <dgm:cxn modelId="{31A29E58-EDD9-41C5-AE9C-BCE938BE12B0}" type="presParOf" srcId="{CEC6AC72-9D02-4F81-A418-885933478523}" destId="{74FDE9A4-3863-42ED-BB24-5E56B0F71B13}" srcOrd="0" destOrd="0" presId="urn:microsoft.com/office/officeart/2005/8/layout/hierarchy3"/>
    <dgm:cxn modelId="{BE74DDD1-556A-4F2D-8A2F-CC89B735F6E2}" type="presParOf" srcId="{CEC6AC72-9D02-4F81-A418-885933478523}" destId="{85AAD282-4B45-4219-8EFC-1A3DB6DF0EFD}" srcOrd="1" destOrd="0" presId="urn:microsoft.com/office/officeart/2005/8/layout/hierarchy3"/>
    <dgm:cxn modelId="{3B86A2D2-36D5-4761-8B49-26D445EA62D2}" type="presParOf" srcId="{D6FBBEC8-A83F-4BFB-9D97-87BDFC399597}" destId="{5697F71C-2ACC-4E34-A0B1-5081C3C52F8B}" srcOrd="3" destOrd="0" presId="urn:microsoft.com/office/officeart/2005/8/layout/hierarchy3"/>
    <dgm:cxn modelId="{79BB0D08-72DA-4123-A6CF-B314CD4D2497}" type="presParOf" srcId="{5697F71C-2ACC-4E34-A0B1-5081C3C52F8B}" destId="{1BD10F7F-9FA4-4DCA-950B-2A45D063954C}" srcOrd="0" destOrd="0" presId="urn:microsoft.com/office/officeart/2005/8/layout/hierarchy3"/>
    <dgm:cxn modelId="{0DDA07D8-C4BC-47D9-8D3D-006344AE2E2C}" type="presParOf" srcId="{1BD10F7F-9FA4-4DCA-950B-2A45D063954C}" destId="{DC3CFF5F-EFB1-490A-BECF-9CA27C76B1CE}" srcOrd="0" destOrd="0" presId="urn:microsoft.com/office/officeart/2005/8/layout/hierarchy3"/>
    <dgm:cxn modelId="{036D3FF5-E296-4CE4-B7B2-83C9D11E9DE4}" type="presParOf" srcId="{1BD10F7F-9FA4-4DCA-950B-2A45D063954C}" destId="{411E69EB-9061-463D-87E7-E68F658E5F96}" srcOrd="1" destOrd="0" presId="urn:microsoft.com/office/officeart/2005/8/layout/hierarchy3"/>
    <dgm:cxn modelId="{856E6295-9813-4234-A81A-F81C35515468}" type="presParOf" srcId="{5697F71C-2ACC-4E34-A0B1-5081C3C52F8B}" destId="{1543C605-73D3-4E68-B4F1-F35104CC572C}" srcOrd="1" destOrd="0" presId="urn:microsoft.com/office/officeart/2005/8/layout/hierarchy3"/>
    <dgm:cxn modelId="{1B575FC9-F114-4297-B845-9364D6ECE5E6}" type="presParOf" srcId="{1543C605-73D3-4E68-B4F1-F35104CC572C}" destId="{C15F07A2-B854-4D39-8EBD-07CA762DEA26}" srcOrd="0" destOrd="0" presId="urn:microsoft.com/office/officeart/2005/8/layout/hierarchy3"/>
    <dgm:cxn modelId="{85EF1BFD-C530-42C8-8881-4E0639DB06E2}" type="presParOf" srcId="{1543C605-73D3-4E68-B4F1-F35104CC572C}" destId="{76569AFE-FD59-4F6D-85F7-9C9FC9B60995}" srcOrd="1" destOrd="0" presId="urn:microsoft.com/office/officeart/2005/8/layout/hierarchy3"/>
    <dgm:cxn modelId="{4983CF3E-9C76-4E24-AED9-3514DF7AC601}" type="presParOf" srcId="{1543C605-73D3-4E68-B4F1-F35104CC572C}" destId="{84D814B1-4DAD-4885-8FE1-C9B9F40E78C5}" srcOrd="2" destOrd="0" presId="urn:microsoft.com/office/officeart/2005/8/layout/hierarchy3"/>
    <dgm:cxn modelId="{C02CDA07-6D06-4DA8-8598-27F767D8858A}" type="presParOf" srcId="{1543C605-73D3-4E68-B4F1-F35104CC572C}" destId="{335A8287-95F1-4140-8EFE-3B3EBED975D2}" srcOrd="3" destOrd="0" presId="urn:microsoft.com/office/officeart/2005/8/layout/hierarchy3"/>
    <dgm:cxn modelId="{C3D4A772-0597-4136-B7B7-4A677FC41931}" type="presParOf" srcId="{1543C605-73D3-4E68-B4F1-F35104CC572C}" destId="{6BBCD323-5077-4370-8DB0-3DB8A655022B}" srcOrd="4" destOrd="0" presId="urn:microsoft.com/office/officeart/2005/8/layout/hierarchy3"/>
    <dgm:cxn modelId="{B8FC4C69-82E2-4CE3-8E9F-A17434CE2BC1}" type="presParOf" srcId="{1543C605-73D3-4E68-B4F1-F35104CC572C}" destId="{9168AD88-E312-4599-860C-046FA67DAB83}" srcOrd="5" destOrd="0" presId="urn:microsoft.com/office/officeart/2005/8/layout/hierarchy3"/>
    <dgm:cxn modelId="{9703B631-D4B2-4582-806A-EBA26C0B3220}" type="presParOf" srcId="{D6FBBEC8-A83F-4BFB-9D97-87BDFC399597}" destId="{2CE48231-5E5D-4C7D-AF90-C4809CB93855}" srcOrd="4" destOrd="0" presId="urn:microsoft.com/office/officeart/2005/8/layout/hierarchy3"/>
    <dgm:cxn modelId="{5149A41C-F951-4314-8200-A196304E0805}" type="presParOf" srcId="{2CE48231-5E5D-4C7D-AF90-C4809CB93855}" destId="{C44297D4-E7A6-4906-AC80-8DD7C321161C}" srcOrd="0" destOrd="0" presId="urn:microsoft.com/office/officeart/2005/8/layout/hierarchy3"/>
    <dgm:cxn modelId="{2A1C18FB-AB69-4624-96FD-E4D202B0D662}" type="presParOf" srcId="{C44297D4-E7A6-4906-AC80-8DD7C321161C}" destId="{E8A58551-1505-4117-978F-505F7A9CF408}" srcOrd="0" destOrd="0" presId="urn:microsoft.com/office/officeart/2005/8/layout/hierarchy3"/>
    <dgm:cxn modelId="{9D0DAF8D-3C9F-4601-B4FB-BE2ECB655C5F}" type="presParOf" srcId="{C44297D4-E7A6-4906-AC80-8DD7C321161C}" destId="{A6C68D7F-AB28-449B-8EE2-B6C0E9742C9B}" srcOrd="1" destOrd="0" presId="urn:microsoft.com/office/officeart/2005/8/layout/hierarchy3"/>
    <dgm:cxn modelId="{F593D241-9718-45CA-92D3-330FEBFD3BA3}" type="presParOf" srcId="{2CE48231-5E5D-4C7D-AF90-C4809CB93855}" destId="{20F34C0A-BEEB-4E8A-BDEB-E0ABF6721FB5}" srcOrd="1" destOrd="0" presId="urn:microsoft.com/office/officeart/2005/8/layout/hierarchy3"/>
    <dgm:cxn modelId="{A5838589-F5CD-4687-8C0A-4BD72D2707C3}" type="presParOf" srcId="{20F34C0A-BEEB-4E8A-BDEB-E0ABF6721FB5}" destId="{E63CF7F2-3477-4012-8382-0D6733921D11}" srcOrd="0" destOrd="0" presId="urn:microsoft.com/office/officeart/2005/8/layout/hierarchy3"/>
    <dgm:cxn modelId="{06F67371-F36C-488E-89D4-AA76461663C2}" type="presParOf" srcId="{20F34C0A-BEEB-4E8A-BDEB-E0ABF6721FB5}" destId="{97902051-D898-4D99-92F6-2A31A83731BE}" srcOrd="1" destOrd="0" presId="urn:microsoft.com/office/officeart/2005/8/layout/hierarchy3"/>
    <dgm:cxn modelId="{C2BC37DC-B767-4F6D-BDA0-FFE4FB7FB038}" type="presParOf" srcId="{20F34C0A-BEEB-4E8A-BDEB-E0ABF6721FB5}" destId="{428B6CF6-C51D-4C13-94AF-11F74ED6E7D9}" srcOrd="2" destOrd="0" presId="urn:microsoft.com/office/officeart/2005/8/layout/hierarchy3"/>
    <dgm:cxn modelId="{EE3BD6A6-CC75-4997-AE8F-D4B2670B84BB}" type="presParOf" srcId="{20F34C0A-BEEB-4E8A-BDEB-E0ABF6721FB5}" destId="{9D90CF9B-E43F-4F6E-8F26-E8FB3CB636EB}" srcOrd="3" destOrd="0" presId="urn:microsoft.com/office/officeart/2005/8/layout/hierarchy3"/>
    <dgm:cxn modelId="{35AE5483-07FD-4B0A-90D5-4883A54AA99C}" type="presParOf" srcId="{20F34C0A-BEEB-4E8A-BDEB-E0ABF6721FB5}" destId="{583F64A8-4A88-4C58-A68C-5E3E8C5D16B2}" srcOrd="4" destOrd="0" presId="urn:microsoft.com/office/officeart/2005/8/layout/hierarchy3"/>
    <dgm:cxn modelId="{675F0EC2-1AF3-4F43-B133-8D6180EAF1B5}" type="presParOf" srcId="{20F34C0A-BEEB-4E8A-BDEB-E0ABF6721FB5}" destId="{BE1685E7-0A3F-48F6-B542-FDEFF91ADCCF}" srcOrd="5" destOrd="0" presId="urn:microsoft.com/office/officeart/2005/8/layout/hierarchy3"/>
    <dgm:cxn modelId="{3EDADFB5-E968-4FF5-908F-BA7F748AD4C5}" type="presParOf" srcId="{D6FBBEC8-A83F-4BFB-9D97-87BDFC399597}" destId="{3487C4C4-AF76-4F56-A727-D6725D123B83}" srcOrd="5" destOrd="0" presId="urn:microsoft.com/office/officeart/2005/8/layout/hierarchy3"/>
    <dgm:cxn modelId="{B3FB0FB2-FEAE-4264-BFA4-9D6C14455893}" type="presParOf" srcId="{3487C4C4-AF76-4F56-A727-D6725D123B83}" destId="{F9F92D38-BA74-4388-A46B-BF00147F8EAC}" srcOrd="0" destOrd="0" presId="urn:microsoft.com/office/officeart/2005/8/layout/hierarchy3"/>
    <dgm:cxn modelId="{295A7FA9-D0BC-476E-9101-5E12C1E312BB}" type="presParOf" srcId="{F9F92D38-BA74-4388-A46B-BF00147F8EAC}" destId="{1AC3E5DF-91EE-4487-93A5-7726E57B26E5}" srcOrd="0" destOrd="0" presId="urn:microsoft.com/office/officeart/2005/8/layout/hierarchy3"/>
    <dgm:cxn modelId="{9FCFA1F0-12F1-4FA6-84B3-5D70AE437090}" type="presParOf" srcId="{F9F92D38-BA74-4388-A46B-BF00147F8EAC}" destId="{72A7F7FC-54AF-42D4-86D6-34436D3CDD77}" srcOrd="1" destOrd="0" presId="urn:microsoft.com/office/officeart/2005/8/layout/hierarchy3"/>
    <dgm:cxn modelId="{FE5FC5F8-DA19-48ED-95AB-C5EB1EAAF99E}" type="presParOf" srcId="{3487C4C4-AF76-4F56-A727-D6725D123B83}" destId="{50D98A5A-1CC3-46DC-93CF-24514507BEF4}" srcOrd="1" destOrd="0" presId="urn:microsoft.com/office/officeart/2005/8/layout/hierarchy3"/>
    <dgm:cxn modelId="{2E04A1F4-837F-43DC-AC10-3264A638EB71}" type="presParOf" srcId="{50D98A5A-1CC3-46DC-93CF-24514507BEF4}" destId="{8037698F-8376-45AB-B4E6-73C66D091398}" srcOrd="0" destOrd="0" presId="urn:microsoft.com/office/officeart/2005/8/layout/hierarchy3"/>
    <dgm:cxn modelId="{8477A5E7-74D8-4E17-B4A5-86BFE8F93727}" type="presParOf" srcId="{50D98A5A-1CC3-46DC-93CF-24514507BEF4}" destId="{AA0E51E9-7D91-41D3-B31F-E91970EAC4EB}" srcOrd="1" destOrd="0" presId="urn:microsoft.com/office/officeart/2005/8/layout/hierarchy3"/>
    <dgm:cxn modelId="{8B2C7A24-881E-4C52-A041-805A649D20B4}" type="presParOf" srcId="{50D98A5A-1CC3-46DC-93CF-24514507BEF4}" destId="{BCEF6BDC-BE1F-43B4-B79C-6056AF29A1E2}" srcOrd="2" destOrd="0" presId="urn:microsoft.com/office/officeart/2005/8/layout/hierarchy3"/>
    <dgm:cxn modelId="{BEEF4670-605B-4EBD-A323-362B7767C8F1}" type="presParOf" srcId="{50D98A5A-1CC3-46DC-93CF-24514507BEF4}" destId="{42E744B1-5EED-452F-AF65-DC5BDC015F9E}" srcOrd="3" destOrd="0" presId="urn:microsoft.com/office/officeart/2005/8/layout/hierarchy3"/>
    <dgm:cxn modelId="{4E9BAE07-E720-4870-A991-CF0386BAC11C}" type="presParOf" srcId="{50D98A5A-1CC3-46DC-93CF-24514507BEF4}" destId="{B74A6951-CE7B-4FB6-A90E-F6EB9CA7F250}" srcOrd="4" destOrd="0" presId="urn:microsoft.com/office/officeart/2005/8/layout/hierarchy3"/>
    <dgm:cxn modelId="{91772AEA-7417-46D0-9588-3DF972ABD99F}" type="presParOf" srcId="{50D98A5A-1CC3-46DC-93CF-24514507BEF4}" destId="{87FAF015-B2A8-4399-BAF9-EF33A03EB6F0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39B67F0-4440-459E-98AE-A310F44D0210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064B8150-BB2F-4D63-9E59-523A28EBB791}">
      <dgm:prSet custT="1"/>
      <dgm:spPr/>
      <dgm:t>
        <a:bodyPr/>
        <a:lstStyle/>
        <a:p>
          <a:pPr rtl="0"/>
          <a:r>
            <a:rPr lang="en-US" sz="1400" dirty="0" smtClean="0"/>
            <a:t>Positive behavioral change can be effected by a well-designed insight.</a:t>
          </a:r>
          <a:endParaRPr lang="en-US" sz="1400" dirty="0"/>
        </a:p>
      </dgm:t>
    </dgm:pt>
    <dgm:pt modelId="{28F984BD-3F81-4BF4-89DF-D9840C441DB6}" type="parTrans" cxnId="{7BE4309C-F610-4F76-9479-AC2035FE1C47}">
      <dgm:prSet/>
      <dgm:spPr/>
      <dgm:t>
        <a:bodyPr/>
        <a:lstStyle/>
        <a:p>
          <a:endParaRPr lang="en-US"/>
        </a:p>
      </dgm:t>
    </dgm:pt>
    <dgm:pt modelId="{DFAAEB56-A543-464E-97DA-D393569EF3B3}" type="sibTrans" cxnId="{7BE4309C-F610-4F76-9479-AC2035FE1C47}">
      <dgm:prSet/>
      <dgm:spPr/>
      <dgm:t>
        <a:bodyPr/>
        <a:lstStyle/>
        <a:p>
          <a:endParaRPr lang="en-US"/>
        </a:p>
      </dgm:t>
    </dgm:pt>
    <dgm:pt modelId="{D78825A6-3F19-431F-9E24-9525174BF165}">
      <dgm:prSet custT="1"/>
      <dgm:spPr/>
      <dgm:t>
        <a:bodyPr/>
        <a:lstStyle/>
        <a:p>
          <a:pPr rtl="0"/>
          <a:r>
            <a:rPr lang="en-US" sz="1400" dirty="0" smtClean="0"/>
            <a:t>Metrics and insights need to be intuitive </a:t>
          </a:r>
          <a:r>
            <a:rPr lang="en-US" sz="1400" dirty="0" smtClean="0"/>
            <a:t>defined to for </a:t>
          </a:r>
          <a:r>
            <a:rPr lang="en-US" sz="1400" dirty="0" smtClean="0"/>
            <a:t>project managers to adopt </a:t>
          </a:r>
          <a:r>
            <a:rPr lang="en-US" sz="1400" dirty="0" smtClean="0"/>
            <a:t>and take action on them</a:t>
          </a:r>
          <a:r>
            <a:rPr lang="en-US" sz="1400" dirty="0" smtClean="0"/>
            <a:t>.</a:t>
          </a:r>
          <a:endParaRPr lang="en-US" sz="1400" dirty="0"/>
        </a:p>
      </dgm:t>
    </dgm:pt>
    <dgm:pt modelId="{9249D71D-A79D-4EE4-92FC-FEA8E86373D1}" type="parTrans" cxnId="{FD4EF6B0-A5DB-4D5E-988D-F7D7DD88B62D}">
      <dgm:prSet/>
      <dgm:spPr/>
      <dgm:t>
        <a:bodyPr/>
        <a:lstStyle/>
        <a:p>
          <a:endParaRPr lang="en-US"/>
        </a:p>
      </dgm:t>
    </dgm:pt>
    <dgm:pt modelId="{CE50E19D-EEFE-4ABF-A57F-9B5264E97CB2}" type="sibTrans" cxnId="{FD4EF6B0-A5DB-4D5E-988D-F7D7DD88B62D}">
      <dgm:prSet/>
      <dgm:spPr/>
      <dgm:t>
        <a:bodyPr/>
        <a:lstStyle/>
        <a:p>
          <a:endParaRPr lang="en-US"/>
        </a:p>
      </dgm:t>
    </dgm:pt>
    <dgm:pt modelId="{EBF0C7B7-86C7-48E3-8D52-D1A23EA820BE}">
      <dgm:prSet custT="1"/>
      <dgm:spPr/>
      <dgm:t>
        <a:bodyPr/>
        <a:lstStyle/>
        <a:p>
          <a:pPr rtl="0"/>
          <a:r>
            <a:rPr lang="en-US" sz="1400" dirty="0" smtClean="0"/>
            <a:t>Integrating the insights obtained through development data and associating it with the Agile release / sprint </a:t>
          </a:r>
          <a:r>
            <a:rPr lang="en-US" sz="1400" dirty="0" smtClean="0"/>
            <a:t>plans and roles </a:t>
          </a:r>
          <a:r>
            <a:rPr lang="en-US" sz="1400" dirty="0" smtClean="0"/>
            <a:t>helps manage feature velocity and technical debt.</a:t>
          </a:r>
          <a:endParaRPr lang="en-US" sz="1400" dirty="0"/>
        </a:p>
      </dgm:t>
    </dgm:pt>
    <dgm:pt modelId="{FE2A58E0-398F-43B0-BD1C-F296672B4C5C}" type="parTrans" cxnId="{FF415395-9307-422C-BFE4-1D220E55B5CD}">
      <dgm:prSet/>
      <dgm:spPr/>
      <dgm:t>
        <a:bodyPr/>
        <a:lstStyle/>
        <a:p>
          <a:endParaRPr lang="en-US"/>
        </a:p>
      </dgm:t>
    </dgm:pt>
    <dgm:pt modelId="{6057775C-192F-466D-BC82-4C9007BC0505}" type="sibTrans" cxnId="{FF415395-9307-422C-BFE4-1D220E55B5CD}">
      <dgm:prSet/>
      <dgm:spPr/>
      <dgm:t>
        <a:bodyPr/>
        <a:lstStyle/>
        <a:p>
          <a:endParaRPr lang="en-US"/>
        </a:p>
      </dgm:t>
    </dgm:pt>
    <dgm:pt modelId="{5FFCE9EE-3563-4128-AC7E-3BB44A001A4D}" type="pres">
      <dgm:prSet presAssocID="{B39B67F0-4440-459E-98AE-A310F44D02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B7D53BF-429F-446C-A339-72F7E5DDD5A6}" type="pres">
      <dgm:prSet presAssocID="{064B8150-BB2F-4D63-9E59-523A28EBB791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CA6389-2B7F-4B3F-B98F-4BAD883EBA11}" type="pres">
      <dgm:prSet presAssocID="{DFAAEB56-A543-464E-97DA-D393569EF3B3}" presName="spacer" presStyleCnt="0"/>
      <dgm:spPr/>
    </dgm:pt>
    <dgm:pt modelId="{B0F8942E-9E69-4793-99D0-94654B3F62D5}" type="pres">
      <dgm:prSet presAssocID="{D78825A6-3F19-431F-9E24-9525174BF16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A30A3-E53F-46A9-B0A7-B3A642C9B6BD}" type="pres">
      <dgm:prSet presAssocID="{CE50E19D-EEFE-4ABF-A57F-9B5264E97CB2}" presName="spacer" presStyleCnt="0"/>
      <dgm:spPr/>
    </dgm:pt>
    <dgm:pt modelId="{388ED8FA-901F-441E-BE2A-35AD04DEC86B}" type="pres">
      <dgm:prSet presAssocID="{EBF0C7B7-86C7-48E3-8D52-D1A23EA820BE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D4EF6B0-A5DB-4D5E-988D-F7D7DD88B62D}" srcId="{B39B67F0-4440-459E-98AE-A310F44D0210}" destId="{D78825A6-3F19-431F-9E24-9525174BF165}" srcOrd="1" destOrd="0" parTransId="{9249D71D-A79D-4EE4-92FC-FEA8E86373D1}" sibTransId="{CE50E19D-EEFE-4ABF-A57F-9B5264E97CB2}"/>
    <dgm:cxn modelId="{04F45C5C-B81C-4675-B12D-E95BE0B3FE4D}" type="presOf" srcId="{064B8150-BB2F-4D63-9E59-523A28EBB791}" destId="{FB7D53BF-429F-446C-A339-72F7E5DDD5A6}" srcOrd="0" destOrd="0" presId="urn:microsoft.com/office/officeart/2005/8/layout/vList2"/>
    <dgm:cxn modelId="{7BE4309C-F610-4F76-9479-AC2035FE1C47}" srcId="{B39B67F0-4440-459E-98AE-A310F44D0210}" destId="{064B8150-BB2F-4D63-9E59-523A28EBB791}" srcOrd="0" destOrd="0" parTransId="{28F984BD-3F81-4BF4-89DF-D9840C441DB6}" sibTransId="{DFAAEB56-A543-464E-97DA-D393569EF3B3}"/>
    <dgm:cxn modelId="{5B7E11D2-682E-4DA5-BAC7-01FE31048481}" type="presOf" srcId="{D78825A6-3F19-431F-9E24-9525174BF165}" destId="{B0F8942E-9E69-4793-99D0-94654B3F62D5}" srcOrd="0" destOrd="0" presId="urn:microsoft.com/office/officeart/2005/8/layout/vList2"/>
    <dgm:cxn modelId="{FF415395-9307-422C-BFE4-1D220E55B5CD}" srcId="{B39B67F0-4440-459E-98AE-A310F44D0210}" destId="{EBF0C7B7-86C7-48E3-8D52-D1A23EA820BE}" srcOrd="2" destOrd="0" parTransId="{FE2A58E0-398F-43B0-BD1C-F296672B4C5C}" sibTransId="{6057775C-192F-466D-BC82-4C9007BC0505}"/>
    <dgm:cxn modelId="{82E1E25E-8A4C-4A6D-A38B-66090A7E24B4}" type="presOf" srcId="{B39B67F0-4440-459E-98AE-A310F44D0210}" destId="{5FFCE9EE-3563-4128-AC7E-3BB44A001A4D}" srcOrd="0" destOrd="0" presId="urn:microsoft.com/office/officeart/2005/8/layout/vList2"/>
    <dgm:cxn modelId="{688C7DB1-12B4-4725-9BE1-FC6FDFB9FDB0}" type="presOf" srcId="{EBF0C7B7-86C7-48E3-8D52-D1A23EA820BE}" destId="{388ED8FA-901F-441E-BE2A-35AD04DEC86B}" srcOrd="0" destOrd="0" presId="urn:microsoft.com/office/officeart/2005/8/layout/vList2"/>
    <dgm:cxn modelId="{7AA9A301-5641-4F65-A4AA-8A8F1300571D}" type="presParOf" srcId="{5FFCE9EE-3563-4128-AC7E-3BB44A001A4D}" destId="{FB7D53BF-429F-446C-A339-72F7E5DDD5A6}" srcOrd="0" destOrd="0" presId="urn:microsoft.com/office/officeart/2005/8/layout/vList2"/>
    <dgm:cxn modelId="{B3E16507-72DE-49B9-8B92-C898C1202E9B}" type="presParOf" srcId="{5FFCE9EE-3563-4128-AC7E-3BB44A001A4D}" destId="{32CA6389-2B7F-4B3F-B98F-4BAD883EBA11}" srcOrd="1" destOrd="0" presId="urn:microsoft.com/office/officeart/2005/8/layout/vList2"/>
    <dgm:cxn modelId="{C8120ADE-0690-4B59-95ED-4432AFE6A046}" type="presParOf" srcId="{5FFCE9EE-3563-4128-AC7E-3BB44A001A4D}" destId="{B0F8942E-9E69-4793-99D0-94654B3F62D5}" srcOrd="2" destOrd="0" presId="urn:microsoft.com/office/officeart/2005/8/layout/vList2"/>
    <dgm:cxn modelId="{127E2AD9-C933-4418-BE30-A713022CC1CE}" type="presParOf" srcId="{5FFCE9EE-3563-4128-AC7E-3BB44A001A4D}" destId="{870A30A3-E53F-46A9-B0A7-B3A642C9B6BD}" srcOrd="3" destOrd="0" presId="urn:microsoft.com/office/officeart/2005/8/layout/vList2"/>
    <dgm:cxn modelId="{8E740377-A421-4BA1-B1A2-07DF9F3CBED0}" type="presParOf" srcId="{5FFCE9EE-3563-4128-AC7E-3BB44A001A4D}" destId="{388ED8FA-901F-441E-BE2A-35AD04DEC86B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B8AEB4B-5F27-48C6-827C-EE668476C63E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D28E518A-58BA-45AC-9C02-AE7690BC5CC3}">
      <dgm:prSet custT="1"/>
      <dgm:spPr/>
      <dgm:t>
        <a:bodyPr/>
        <a:lstStyle/>
        <a:p>
          <a:pPr rtl="0"/>
          <a:r>
            <a:rPr lang="en-US" sz="1400" dirty="0" smtClean="0"/>
            <a:t>Planned roles </a:t>
          </a:r>
          <a:r>
            <a:rPr lang="en-US" sz="1400" dirty="0" smtClean="0"/>
            <a:t>change and are important to understand team dynamics. </a:t>
          </a:r>
          <a:r>
            <a:rPr lang="en-US" sz="1400" dirty="0" smtClean="0"/>
            <a:t>The changes are visible only through objective on-ground </a:t>
          </a:r>
          <a:r>
            <a:rPr lang="en-US" sz="1400" dirty="0" smtClean="0"/>
            <a:t>data.</a:t>
          </a:r>
          <a:endParaRPr lang="en-US" sz="1400" dirty="0"/>
        </a:p>
      </dgm:t>
    </dgm:pt>
    <dgm:pt modelId="{939F61F7-23F5-4A42-B85A-DF17CFFFB39C}" type="parTrans" cxnId="{D6F171BF-C1EE-4C59-AF30-31BAFA43F202}">
      <dgm:prSet/>
      <dgm:spPr/>
      <dgm:t>
        <a:bodyPr/>
        <a:lstStyle/>
        <a:p>
          <a:endParaRPr lang="en-US" sz="1400"/>
        </a:p>
      </dgm:t>
    </dgm:pt>
    <dgm:pt modelId="{4BFCA11C-9F2E-4C6D-BD0B-74DCC6A58801}" type="sibTrans" cxnId="{D6F171BF-C1EE-4C59-AF30-31BAFA43F202}">
      <dgm:prSet/>
      <dgm:spPr/>
      <dgm:t>
        <a:bodyPr/>
        <a:lstStyle/>
        <a:p>
          <a:endParaRPr lang="en-US" sz="1400"/>
        </a:p>
      </dgm:t>
    </dgm:pt>
    <dgm:pt modelId="{3C02EF6F-9F06-4616-85E2-131C02A4EEFA}">
      <dgm:prSet custT="1"/>
      <dgm:spPr/>
      <dgm:t>
        <a:bodyPr/>
        <a:lstStyle/>
        <a:p>
          <a:pPr rtl="0"/>
          <a:r>
            <a:rPr lang="en-US" sz="1400" dirty="0" smtClean="0"/>
            <a:t>Data-driven approach to measuring micro-process adoption provides fine-grained insights for methodology adoption.</a:t>
          </a:r>
          <a:endParaRPr lang="en-US" sz="1400" dirty="0"/>
        </a:p>
      </dgm:t>
    </dgm:pt>
    <dgm:pt modelId="{958905E6-82EC-4244-94DB-A6FA37C8E52C}" type="parTrans" cxnId="{8D224C79-15C1-4093-90BD-06C11E66314C}">
      <dgm:prSet/>
      <dgm:spPr/>
      <dgm:t>
        <a:bodyPr/>
        <a:lstStyle/>
        <a:p>
          <a:endParaRPr lang="en-US" sz="1400"/>
        </a:p>
      </dgm:t>
    </dgm:pt>
    <dgm:pt modelId="{79CAC685-8BAE-4024-AE54-2724F85DE673}" type="sibTrans" cxnId="{8D224C79-15C1-4093-90BD-06C11E66314C}">
      <dgm:prSet/>
      <dgm:spPr/>
      <dgm:t>
        <a:bodyPr/>
        <a:lstStyle/>
        <a:p>
          <a:endParaRPr lang="en-US" sz="1400"/>
        </a:p>
      </dgm:t>
    </dgm:pt>
    <dgm:pt modelId="{BF69A731-8DFF-45D9-A9E0-5D22DCA66973}">
      <dgm:prSet custT="1"/>
      <dgm:spPr/>
      <dgm:t>
        <a:bodyPr/>
        <a:lstStyle/>
        <a:p>
          <a:pPr rtl="0"/>
          <a:r>
            <a:rPr lang="en-US" sz="1400" smtClean="0"/>
            <a:t>Balancing between insights and privacy is a generally important consideration for any tool that uses data or meta-data to identify patterns and suggests recommendations</a:t>
          </a:r>
          <a:endParaRPr lang="en-US" sz="1400"/>
        </a:p>
      </dgm:t>
    </dgm:pt>
    <dgm:pt modelId="{313541C4-DEEB-40C8-90C6-6586A1A839CC}" type="parTrans" cxnId="{4CE52A45-0067-46BB-9B7C-107D75B9B4A7}">
      <dgm:prSet/>
      <dgm:spPr/>
      <dgm:t>
        <a:bodyPr/>
        <a:lstStyle/>
        <a:p>
          <a:endParaRPr lang="en-US" sz="1400"/>
        </a:p>
      </dgm:t>
    </dgm:pt>
    <dgm:pt modelId="{46F483D8-5008-46BC-829E-B13DD76FB799}" type="sibTrans" cxnId="{4CE52A45-0067-46BB-9B7C-107D75B9B4A7}">
      <dgm:prSet/>
      <dgm:spPr/>
      <dgm:t>
        <a:bodyPr/>
        <a:lstStyle/>
        <a:p>
          <a:endParaRPr lang="en-US" sz="1400"/>
        </a:p>
      </dgm:t>
    </dgm:pt>
    <dgm:pt modelId="{5D1FA23F-A026-4B2F-B30D-242BB627F246}" type="pres">
      <dgm:prSet presAssocID="{1B8AEB4B-5F27-48C6-827C-EE668476C63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C27EC24-67E8-4997-9691-0B452CCF6892}" type="pres">
      <dgm:prSet presAssocID="{D28E518A-58BA-45AC-9C02-AE7690BC5CC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BB76DF-06D5-46B1-B891-E71C66248088}" type="pres">
      <dgm:prSet presAssocID="{4BFCA11C-9F2E-4C6D-BD0B-74DCC6A58801}" presName="spacer" presStyleCnt="0"/>
      <dgm:spPr/>
    </dgm:pt>
    <dgm:pt modelId="{8BDFE00F-DA5B-4E1E-B599-043F2DDDCC1B}" type="pres">
      <dgm:prSet presAssocID="{3C02EF6F-9F06-4616-85E2-131C02A4EEFA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FAF24E-5126-4FC8-8464-8B69C8148903}" type="pres">
      <dgm:prSet presAssocID="{79CAC685-8BAE-4024-AE54-2724F85DE673}" presName="spacer" presStyleCnt="0"/>
      <dgm:spPr/>
    </dgm:pt>
    <dgm:pt modelId="{02CC0824-DCF0-411C-9DA8-1CB0E203E147}" type="pres">
      <dgm:prSet presAssocID="{BF69A731-8DFF-45D9-A9E0-5D22DCA66973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0C143C9-F6C2-4EDE-B5C8-16B5B79F1377}" type="presOf" srcId="{1B8AEB4B-5F27-48C6-827C-EE668476C63E}" destId="{5D1FA23F-A026-4B2F-B30D-242BB627F246}" srcOrd="0" destOrd="0" presId="urn:microsoft.com/office/officeart/2005/8/layout/vList2"/>
    <dgm:cxn modelId="{002C8EFD-86A3-442E-AC57-09C891FCD78B}" type="presOf" srcId="{3C02EF6F-9F06-4616-85E2-131C02A4EEFA}" destId="{8BDFE00F-DA5B-4E1E-B599-043F2DDDCC1B}" srcOrd="0" destOrd="0" presId="urn:microsoft.com/office/officeart/2005/8/layout/vList2"/>
    <dgm:cxn modelId="{B7EF3FAD-A615-42FF-AE82-4F9E989855F9}" type="presOf" srcId="{BF69A731-8DFF-45D9-A9E0-5D22DCA66973}" destId="{02CC0824-DCF0-411C-9DA8-1CB0E203E147}" srcOrd="0" destOrd="0" presId="urn:microsoft.com/office/officeart/2005/8/layout/vList2"/>
    <dgm:cxn modelId="{D6F171BF-C1EE-4C59-AF30-31BAFA43F202}" srcId="{1B8AEB4B-5F27-48C6-827C-EE668476C63E}" destId="{D28E518A-58BA-45AC-9C02-AE7690BC5CC3}" srcOrd="0" destOrd="0" parTransId="{939F61F7-23F5-4A42-B85A-DF17CFFFB39C}" sibTransId="{4BFCA11C-9F2E-4C6D-BD0B-74DCC6A58801}"/>
    <dgm:cxn modelId="{44018CAB-A03D-4DE1-8F2D-B1ACC1E5161C}" type="presOf" srcId="{D28E518A-58BA-45AC-9C02-AE7690BC5CC3}" destId="{DC27EC24-67E8-4997-9691-0B452CCF6892}" srcOrd="0" destOrd="0" presId="urn:microsoft.com/office/officeart/2005/8/layout/vList2"/>
    <dgm:cxn modelId="{8D224C79-15C1-4093-90BD-06C11E66314C}" srcId="{1B8AEB4B-5F27-48C6-827C-EE668476C63E}" destId="{3C02EF6F-9F06-4616-85E2-131C02A4EEFA}" srcOrd="1" destOrd="0" parTransId="{958905E6-82EC-4244-94DB-A6FA37C8E52C}" sibTransId="{79CAC685-8BAE-4024-AE54-2724F85DE673}"/>
    <dgm:cxn modelId="{4CE52A45-0067-46BB-9B7C-107D75B9B4A7}" srcId="{1B8AEB4B-5F27-48C6-827C-EE668476C63E}" destId="{BF69A731-8DFF-45D9-A9E0-5D22DCA66973}" srcOrd="2" destOrd="0" parTransId="{313541C4-DEEB-40C8-90C6-6586A1A839CC}" sibTransId="{46F483D8-5008-46BC-829E-B13DD76FB799}"/>
    <dgm:cxn modelId="{02AECE15-193A-4316-9879-731884FC954D}" type="presParOf" srcId="{5D1FA23F-A026-4B2F-B30D-242BB627F246}" destId="{DC27EC24-67E8-4997-9691-0B452CCF6892}" srcOrd="0" destOrd="0" presId="urn:microsoft.com/office/officeart/2005/8/layout/vList2"/>
    <dgm:cxn modelId="{373B8391-18CA-4E8F-887C-117DE6CD10D6}" type="presParOf" srcId="{5D1FA23F-A026-4B2F-B30D-242BB627F246}" destId="{C3BB76DF-06D5-46B1-B891-E71C66248088}" srcOrd="1" destOrd="0" presId="urn:microsoft.com/office/officeart/2005/8/layout/vList2"/>
    <dgm:cxn modelId="{52674408-FDE7-456B-8497-B70891FDA233}" type="presParOf" srcId="{5D1FA23F-A026-4B2F-B30D-242BB627F246}" destId="{8BDFE00F-DA5B-4E1E-B599-043F2DDDCC1B}" srcOrd="2" destOrd="0" presId="urn:microsoft.com/office/officeart/2005/8/layout/vList2"/>
    <dgm:cxn modelId="{A62C8017-8883-4EBB-8EC8-227CF612F1A4}" type="presParOf" srcId="{5D1FA23F-A026-4B2F-B30D-242BB627F246}" destId="{59FAF24E-5126-4FC8-8464-8B69C8148903}" srcOrd="3" destOrd="0" presId="urn:microsoft.com/office/officeart/2005/8/layout/vList2"/>
    <dgm:cxn modelId="{6EF77FCB-1D1F-4AFA-98F0-493FF5F03D42}" type="presParOf" srcId="{5D1FA23F-A026-4B2F-B30D-242BB627F246}" destId="{02CC0824-DCF0-411C-9DA8-1CB0E203E147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CC599C-16F2-4A70-993B-7B2D58842B25}">
      <dsp:nvSpPr>
        <dsp:cNvPr id="0" name=""/>
        <dsp:cNvSpPr/>
      </dsp:nvSpPr>
      <dsp:spPr>
        <a:xfrm>
          <a:off x="0" y="46667"/>
          <a:ext cx="2621763" cy="157305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0" kern="1200" dirty="0" smtClean="0"/>
            <a:t>Process metrics like Cost </a:t>
          </a:r>
          <a:r>
            <a:rPr lang="en-US" sz="2100" b="0" kern="1200" dirty="0" smtClean="0"/>
            <a:t>performance does not translate to quality</a:t>
          </a:r>
          <a:endParaRPr lang="en-US" sz="2100" kern="1200" dirty="0"/>
        </a:p>
      </dsp:txBody>
      <dsp:txXfrm>
        <a:off x="0" y="46667"/>
        <a:ext cx="2621763" cy="1573058"/>
      </dsp:txXfrm>
    </dsp:sp>
    <dsp:sp modelId="{931DAAA0-4A33-4686-ACCC-8AFDFB769AE0}">
      <dsp:nvSpPr>
        <dsp:cNvPr id="0" name=""/>
        <dsp:cNvSpPr/>
      </dsp:nvSpPr>
      <dsp:spPr>
        <a:xfrm>
          <a:off x="2883939" y="46667"/>
          <a:ext cx="2621763" cy="157305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0" kern="1200" dirty="0" smtClean="0"/>
            <a:t>Training on development techniques may not lead to widespread adoption</a:t>
          </a:r>
          <a:endParaRPr lang="en-US" sz="2100" kern="1200" dirty="0"/>
        </a:p>
      </dsp:txBody>
      <dsp:txXfrm>
        <a:off x="2883939" y="46667"/>
        <a:ext cx="2621763" cy="1573058"/>
      </dsp:txXfrm>
    </dsp:sp>
    <dsp:sp modelId="{DA644478-AF89-4635-9FC1-688FD1E33678}">
      <dsp:nvSpPr>
        <dsp:cNvPr id="0" name=""/>
        <dsp:cNvSpPr/>
      </dsp:nvSpPr>
      <dsp:spPr>
        <a:xfrm>
          <a:off x="5767879" y="46667"/>
          <a:ext cx="2621763" cy="157305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0" kern="1200" dirty="0" smtClean="0"/>
            <a:t>Insights in to an </a:t>
          </a:r>
          <a:r>
            <a:rPr lang="en-US" sz="2100" b="0" kern="1200" dirty="0" smtClean="0"/>
            <a:t>individual’s importance to a </a:t>
          </a:r>
          <a:r>
            <a:rPr lang="en-US" sz="2100" b="0" kern="1200" dirty="0" smtClean="0"/>
            <a:t>project were non-trivial</a:t>
          </a:r>
          <a:endParaRPr lang="en-US" sz="2100" kern="1200" dirty="0"/>
        </a:p>
      </dsp:txBody>
      <dsp:txXfrm>
        <a:off x="5767879" y="46667"/>
        <a:ext cx="2621763" cy="1573058"/>
      </dsp:txXfrm>
    </dsp:sp>
    <dsp:sp modelId="{58FB521A-7A2C-44CF-9AD3-4BB281CCA587}">
      <dsp:nvSpPr>
        <dsp:cNvPr id="0" name=""/>
        <dsp:cNvSpPr/>
      </dsp:nvSpPr>
      <dsp:spPr>
        <a:xfrm>
          <a:off x="1441969" y="1881902"/>
          <a:ext cx="2621763" cy="157305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0" kern="1200" smtClean="0"/>
            <a:t>Usage of tools does not automatically lead to increase in quality</a:t>
          </a:r>
          <a:endParaRPr lang="en-US" sz="2100" kern="1200"/>
        </a:p>
      </dsp:txBody>
      <dsp:txXfrm>
        <a:off x="1441969" y="1881902"/>
        <a:ext cx="2621763" cy="1573058"/>
      </dsp:txXfrm>
    </dsp:sp>
    <dsp:sp modelId="{4BE5D4F6-3F58-4F14-96E7-F7D96B3074A1}">
      <dsp:nvSpPr>
        <dsp:cNvPr id="0" name=""/>
        <dsp:cNvSpPr/>
      </dsp:nvSpPr>
      <dsp:spPr>
        <a:xfrm>
          <a:off x="4325909" y="1881902"/>
          <a:ext cx="2621763" cy="157305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0" kern="1200" smtClean="0"/>
            <a:t>Process Warnings: </a:t>
          </a:r>
          <a:r>
            <a:rPr lang="en-US" sz="2100" b="0" kern="1200" dirty="0" smtClean="0"/>
            <a:t>It’s simply too late to fix!</a:t>
          </a:r>
          <a:endParaRPr lang="en-US" sz="2100" kern="1200" dirty="0"/>
        </a:p>
      </dsp:txBody>
      <dsp:txXfrm>
        <a:off x="4325909" y="1881902"/>
        <a:ext cx="2621763" cy="15730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A759A5-66BF-4709-9C76-1EEE96BC3732}">
      <dsp:nvSpPr>
        <dsp:cNvPr id="0" name=""/>
        <dsp:cNvSpPr/>
      </dsp:nvSpPr>
      <dsp:spPr>
        <a:xfrm rot="21300000">
          <a:off x="12720" y="1357323"/>
          <a:ext cx="4119838" cy="471783"/>
        </a:xfrm>
        <a:prstGeom prst="mathMinus">
          <a:avLst/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13CF13-DB4A-4307-BDA3-F4917A1FFB0D}">
      <dsp:nvSpPr>
        <dsp:cNvPr id="0" name=""/>
        <dsp:cNvSpPr/>
      </dsp:nvSpPr>
      <dsp:spPr>
        <a:xfrm>
          <a:off x="497433" y="159321"/>
          <a:ext cx="1243584" cy="1274571"/>
        </a:xfrm>
        <a:prstGeom prst="downArrow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478666-A858-451B-89B5-894A89186CC6}">
      <dsp:nvSpPr>
        <dsp:cNvPr id="0" name=""/>
        <dsp:cNvSpPr/>
      </dsp:nvSpPr>
      <dsp:spPr>
        <a:xfrm>
          <a:off x="2196998" y="0"/>
          <a:ext cx="1326489" cy="13383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solidFill>
                <a:srgbClr val="FFC000"/>
              </a:solidFill>
            </a:rPr>
            <a:t>Top-down delivery process metrics and monitoring</a:t>
          </a:r>
          <a:endParaRPr lang="en-US" sz="1300" kern="1200" dirty="0">
            <a:solidFill>
              <a:srgbClr val="FFC000"/>
            </a:solidFill>
          </a:endParaRPr>
        </a:p>
      </dsp:txBody>
      <dsp:txXfrm>
        <a:off x="2196998" y="0"/>
        <a:ext cx="1326489" cy="1338300"/>
      </dsp:txXfrm>
    </dsp:sp>
    <dsp:sp modelId="{A5AFE40D-C245-4787-BD88-45C0851B286B}">
      <dsp:nvSpPr>
        <dsp:cNvPr id="0" name=""/>
        <dsp:cNvSpPr/>
      </dsp:nvSpPr>
      <dsp:spPr>
        <a:xfrm>
          <a:off x="2404262" y="1752536"/>
          <a:ext cx="1243584" cy="1274571"/>
        </a:xfrm>
        <a:prstGeom prst="upArrow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14B58F-5563-45BC-BB31-38D2ECCF4641}">
      <dsp:nvSpPr>
        <dsp:cNvPr id="0" name=""/>
        <dsp:cNvSpPr/>
      </dsp:nvSpPr>
      <dsp:spPr>
        <a:xfrm>
          <a:off x="621792" y="1848129"/>
          <a:ext cx="1326489" cy="13383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solidFill>
                <a:srgbClr val="00A000"/>
              </a:solidFill>
            </a:rPr>
            <a:t>Bottom-up comprehension of software development activities</a:t>
          </a:r>
          <a:endParaRPr lang="en-US" sz="1300" kern="1200" dirty="0">
            <a:solidFill>
              <a:srgbClr val="00A000"/>
            </a:solidFill>
          </a:endParaRPr>
        </a:p>
      </dsp:txBody>
      <dsp:txXfrm>
        <a:off x="621792" y="1848129"/>
        <a:ext cx="1326489" cy="13383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440251-07A8-42F8-A77C-29D303A74B8B}">
      <dsp:nvSpPr>
        <dsp:cNvPr id="0" name=""/>
        <dsp:cNvSpPr/>
      </dsp:nvSpPr>
      <dsp:spPr>
        <a:xfrm>
          <a:off x="495900" y="253"/>
          <a:ext cx="952183" cy="57131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termine intended outcome</a:t>
          </a:r>
          <a:endParaRPr lang="en-US" sz="1100" kern="1200" dirty="0"/>
        </a:p>
      </dsp:txBody>
      <dsp:txXfrm>
        <a:off x="512633" y="16986"/>
        <a:ext cx="918717" cy="537844"/>
      </dsp:txXfrm>
    </dsp:sp>
    <dsp:sp modelId="{BFF4A3CB-C5DA-48D0-A43D-F0755E79F2BA}">
      <dsp:nvSpPr>
        <dsp:cNvPr id="0" name=""/>
        <dsp:cNvSpPr/>
      </dsp:nvSpPr>
      <dsp:spPr>
        <a:xfrm>
          <a:off x="1531876" y="167837"/>
          <a:ext cx="201862" cy="2361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1531876" y="215065"/>
        <a:ext cx="141303" cy="141685"/>
      </dsp:txXfrm>
    </dsp:sp>
    <dsp:sp modelId="{D4465893-12C2-4E42-B68D-03770207C5CF}">
      <dsp:nvSpPr>
        <dsp:cNvPr id="0" name=""/>
        <dsp:cNvSpPr/>
      </dsp:nvSpPr>
      <dsp:spPr>
        <a:xfrm>
          <a:off x="1828958" y="253"/>
          <a:ext cx="952183" cy="571310"/>
        </a:xfrm>
        <a:prstGeom prst="roundRect">
          <a:avLst>
            <a:gd name="adj" fmla="val 10000"/>
          </a:avLst>
        </a:prstGeom>
        <a:solidFill>
          <a:schemeClr val="accent4">
            <a:hueOff val="1285714"/>
            <a:satOff val="-9999"/>
            <a:lumOff val="-133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fine insight</a:t>
          </a:r>
          <a:endParaRPr lang="en-US" sz="1100" kern="1200" dirty="0"/>
        </a:p>
      </dsp:txBody>
      <dsp:txXfrm>
        <a:off x="1845691" y="16986"/>
        <a:ext cx="918717" cy="537844"/>
      </dsp:txXfrm>
    </dsp:sp>
    <dsp:sp modelId="{3E12355F-5C49-4FD1-873F-4CBA52DCFF78}">
      <dsp:nvSpPr>
        <dsp:cNvPr id="0" name=""/>
        <dsp:cNvSpPr/>
      </dsp:nvSpPr>
      <dsp:spPr>
        <a:xfrm>
          <a:off x="2864934" y="167837"/>
          <a:ext cx="201862" cy="2361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1607142"/>
            <a:satOff val="-12499"/>
            <a:lumOff val="-166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2864934" y="215065"/>
        <a:ext cx="141303" cy="141685"/>
      </dsp:txXfrm>
    </dsp:sp>
    <dsp:sp modelId="{35B89B71-8531-4E25-80A8-1E26FDADBFFF}">
      <dsp:nvSpPr>
        <dsp:cNvPr id="0" name=""/>
        <dsp:cNvSpPr/>
      </dsp:nvSpPr>
      <dsp:spPr>
        <a:xfrm>
          <a:off x="3162015" y="253"/>
          <a:ext cx="952183" cy="571310"/>
        </a:xfrm>
        <a:prstGeom prst="roundRect">
          <a:avLst>
            <a:gd name="adj" fmla="val 10000"/>
          </a:avLst>
        </a:prstGeom>
        <a:solidFill>
          <a:schemeClr val="accent4">
            <a:hueOff val="2571427"/>
            <a:satOff val="-19999"/>
            <a:lumOff val="-266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termine visualization</a:t>
          </a:r>
          <a:endParaRPr lang="en-US" sz="1100" kern="1200" dirty="0"/>
        </a:p>
      </dsp:txBody>
      <dsp:txXfrm>
        <a:off x="3178748" y="16986"/>
        <a:ext cx="918717" cy="537844"/>
      </dsp:txXfrm>
    </dsp:sp>
    <dsp:sp modelId="{E7545969-EFDF-4F9E-845C-646495F9C831}">
      <dsp:nvSpPr>
        <dsp:cNvPr id="0" name=""/>
        <dsp:cNvSpPr/>
      </dsp:nvSpPr>
      <dsp:spPr>
        <a:xfrm rot="5400000">
          <a:off x="3537175" y="638216"/>
          <a:ext cx="201862" cy="2361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3214284"/>
            <a:satOff val="-24999"/>
            <a:lumOff val="-333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-5400000">
        <a:off x="3567264" y="655356"/>
        <a:ext cx="141685" cy="141303"/>
      </dsp:txXfrm>
    </dsp:sp>
    <dsp:sp modelId="{D817BF65-220D-4AD0-9E85-34B52B302D0C}">
      <dsp:nvSpPr>
        <dsp:cNvPr id="0" name=""/>
        <dsp:cNvSpPr/>
      </dsp:nvSpPr>
      <dsp:spPr>
        <a:xfrm>
          <a:off x="3162015" y="952436"/>
          <a:ext cx="952183" cy="571310"/>
        </a:xfrm>
        <a:prstGeom prst="roundRect">
          <a:avLst>
            <a:gd name="adj" fmla="val 10000"/>
          </a:avLst>
        </a:prstGeom>
        <a:solidFill>
          <a:schemeClr val="accent4">
            <a:hueOff val="3857141"/>
            <a:satOff val="-29998"/>
            <a:lumOff val="-400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sign data analysis</a:t>
          </a:r>
          <a:endParaRPr lang="en-US" sz="1100" kern="1200" dirty="0"/>
        </a:p>
      </dsp:txBody>
      <dsp:txXfrm>
        <a:off x="3178748" y="969169"/>
        <a:ext cx="918717" cy="537844"/>
      </dsp:txXfrm>
    </dsp:sp>
    <dsp:sp modelId="{2A9A723F-11C3-4188-A157-F893F77581FB}">
      <dsp:nvSpPr>
        <dsp:cNvPr id="0" name=""/>
        <dsp:cNvSpPr/>
      </dsp:nvSpPr>
      <dsp:spPr>
        <a:xfrm rot="10800000">
          <a:off x="2876360" y="1120021"/>
          <a:ext cx="201862" cy="2361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4821426"/>
            <a:satOff val="-37498"/>
            <a:lumOff val="-500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2936919" y="1167249"/>
        <a:ext cx="141303" cy="141685"/>
      </dsp:txXfrm>
    </dsp:sp>
    <dsp:sp modelId="{214ACB53-032D-4861-8C46-7A675D1CFC3B}">
      <dsp:nvSpPr>
        <dsp:cNvPr id="0" name=""/>
        <dsp:cNvSpPr/>
      </dsp:nvSpPr>
      <dsp:spPr>
        <a:xfrm>
          <a:off x="1828958" y="952436"/>
          <a:ext cx="952183" cy="571310"/>
        </a:xfrm>
        <a:prstGeom prst="roundRect">
          <a:avLst>
            <a:gd name="adj" fmla="val 10000"/>
          </a:avLst>
        </a:prstGeom>
        <a:solidFill>
          <a:schemeClr val="accent4">
            <a:hueOff val="5142855"/>
            <a:satOff val="-39998"/>
            <a:lumOff val="-533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Enumerate data required for analysis</a:t>
          </a:r>
          <a:endParaRPr lang="en-US" sz="1100" kern="1200" dirty="0"/>
        </a:p>
      </dsp:txBody>
      <dsp:txXfrm>
        <a:off x="1845691" y="969169"/>
        <a:ext cx="918717" cy="537844"/>
      </dsp:txXfrm>
    </dsp:sp>
    <dsp:sp modelId="{1D0597C6-B93A-4227-8291-20DA90891F70}">
      <dsp:nvSpPr>
        <dsp:cNvPr id="0" name=""/>
        <dsp:cNvSpPr/>
      </dsp:nvSpPr>
      <dsp:spPr>
        <a:xfrm rot="10800000">
          <a:off x="1543303" y="1120021"/>
          <a:ext cx="201862" cy="23614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6428568"/>
            <a:satOff val="-49997"/>
            <a:lumOff val="-666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1603862" y="1167249"/>
        <a:ext cx="141303" cy="141685"/>
      </dsp:txXfrm>
    </dsp:sp>
    <dsp:sp modelId="{37027F9D-2007-443F-B7D5-85B5C55B6BAE}">
      <dsp:nvSpPr>
        <dsp:cNvPr id="0" name=""/>
        <dsp:cNvSpPr/>
      </dsp:nvSpPr>
      <dsp:spPr>
        <a:xfrm>
          <a:off x="495900" y="952436"/>
          <a:ext cx="952183" cy="571310"/>
        </a:xfrm>
        <a:prstGeom prst="roundRect">
          <a:avLst>
            <a:gd name="adj" fmla="val 10000"/>
          </a:avLst>
        </a:prstGeom>
        <a:solidFill>
          <a:schemeClr val="accent4">
            <a:hueOff val="6428568"/>
            <a:satOff val="-49997"/>
            <a:lumOff val="-666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elect and configure data sources</a:t>
          </a:r>
          <a:endParaRPr lang="en-US" sz="1100" kern="1200" dirty="0"/>
        </a:p>
      </dsp:txBody>
      <dsp:txXfrm>
        <a:off x="512633" y="969169"/>
        <a:ext cx="918717" cy="53784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D2B1CA-95C8-4CB1-AF7D-0E085873DA17}">
      <dsp:nvSpPr>
        <dsp:cNvPr id="0" name=""/>
        <dsp:cNvSpPr/>
      </dsp:nvSpPr>
      <dsp:spPr>
        <a:xfrm>
          <a:off x="1314047" y="23"/>
          <a:ext cx="570669" cy="285334"/>
        </a:xfrm>
        <a:prstGeom prst="roundRect">
          <a:avLst>
            <a:gd name="adj" fmla="val 10000"/>
          </a:avLst>
        </a:prstGeom>
        <a:solidFill>
          <a:srgbClr val="989AAC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Code Quality</a:t>
          </a:r>
          <a:endParaRPr lang="en-IN" sz="7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1322404" y="8380"/>
        <a:ext cx="553955" cy="268620"/>
      </dsp:txXfrm>
    </dsp:sp>
    <dsp:sp modelId="{236DCD62-1DC0-40AD-8F62-F685A9F84428}">
      <dsp:nvSpPr>
        <dsp:cNvPr id="0" name=""/>
        <dsp:cNvSpPr/>
      </dsp:nvSpPr>
      <dsp:spPr>
        <a:xfrm>
          <a:off x="1325394" y="285357"/>
          <a:ext cx="91440" cy="2140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4001"/>
              </a:lnTo>
              <a:lnTo>
                <a:pt x="102786" y="214001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6F0A6F-56C4-46F8-A175-88D40BB2DDD3}">
      <dsp:nvSpPr>
        <dsp:cNvPr id="0" name=""/>
        <dsp:cNvSpPr/>
      </dsp:nvSpPr>
      <dsp:spPr>
        <a:xfrm>
          <a:off x="1428181" y="356691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de Quality Index : CQI </a:t>
          </a:r>
          <a:endParaRPr lang="en-IN" sz="500" b="1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1436538" y="365048"/>
        <a:ext cx="439821" cy="268620"/>
      </dsp:txXfrm>
    </dsp:sp>
    <dsp:sp modelId="{AD4C0702-9675-4B54-850D-2F6AA2DB1B22}">
      <dsp:nvSpPr>
        <dsp:cNvPr id="0" name=""/>
        <dsp:cNvSpPr/>
      </dsp:nvSpPr>
      <dsp:spPr>
        <a:xfrm>
          <a:off x="1325394" y="285357"/>
          <a:ext cx="91440" cy="57066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70669"/>
              </a:lnTo>
              <a:lnTo>
                <a:pt x="102786" y="570669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880765-72DD-4A38-B00C-A68DC8AFAA51}">
      <dsp:nvSpPr>
        <dsp:cNvPr id="0" name=""/>
        <dsp:cNvSpPr/>
      </dsp:nvSpPr>
      <dsp:spPr>
        <a:xfrm>
          <a:off x="1428181" y="713360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866877"/>
              <a:satOff val="4113"/>
              <a:lumOff val="-889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op Code Quality Issues and Categories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1436538" y="721717"/>
        <a:ext cx="439821" cy="268620"/>
      </dsp:txXfrm>
    </dsp:sp>
    <dsp:sp modelId="{FA9AE07B-829F-4AE8-81D3-E0F11334A0D2}">
      <dsp:nvSpPr>
        <dsp:cNvPr id="0" name=""/>
        <dsp:cNvSpPr/>
      </dsp:nvSpPr>
      <dsp:spPr>
        <a:xfrm>
          <a:off x="1325394" y="285357"/>
          <a:ext cx="91440" cy="92733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27338"/>
              </a:lnTo>
              <a:lnTo>
                <a:pt x="102786" y="927338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974AD2-504F-4E24-A992-8BF1768000C1}">
      <dsp:nvSpPr>
        <dsp:cNvPr id="0" name=""/>
        <dsp:cNvSpPr/>
      </dsp:nvSpPr>
      <dsp:spPr>
        <a:xfrm>
          <a:off x="1428181" y="1070029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733755"/>
              <a:satOff val="8225"/>
              <a:lumOff val="-1778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Rate of Increase of Code Quality Issues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1436538" y="1078386"/>
        <a:ext cx="439821" cy="268620"/>
      </dsp:txXfrm>
    </dsp:sp>
    <dsp:sp modelId="{6DF14B5A-EDE2-4F08-8061-7C726623E8B1}">
      <dsp:nvSpPr>
        <dsp:cNvPr id="0" name=""/>
        <dsp:cNvSpPr/>
      </dsp:nvSpPr>
      <dsp:spPr>
        <a:xfrm>
          <a:off x="2027385" y="23"/>
          <a:ext cx="570669" cy="285334"/>
        </a:xfrm>
        <a:prstGeom prst="roundRect">
          <a:avLst>
            <a:gd name="adj" fmla="val 10000"/>
          </a:avLst>
        </a:prstGeom>
        <a:solidFill>
          <a:srgbClr val="989AAC">
            <a:hueOff val="-2600632"/>
            <a:satOff val="12338"/>
            <a:lumOff val="-2667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Component Testing</a:t>
          </a:r>
          <a:endParaRPr lang="en-IN" sz="7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2035742" y="8380"/>
        <a:ext cx="553955" cy="268620"/>
      </dsp:txXfrm>
    </dsp:sp>
    <dsp:sp modelId="{9095AD6F-2C87-4F19-98FD-9FABD8F4108D}">
      <dsp:nvSpPr>
        <dsp:cNvPr id="0" name=""/>
        <dsp:cNvSpPr/>
      </dsp:nvSpPr>
      <dsp:spPr>
        <a:xfrm>
          <a:off x="2038732" y="285357"/>
          <a:ext cx="91440" cy="2140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4001"/>
              </a:lnTo>
              <a:lnTo>
                <a:pt x="102786" y="214001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15413A-A93D-467F-94C9-47CCB8E7D366}">
      <dsp:nvSpPr>
        <dsp:cNvPr id="0" name=""/>
        <dsp:cNvSpPr/>
      </dsp:nvSpPr>
      <dsp:spPr>
        <a:xfrm>
          <a:off x="2141519" y="356691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2600632"/>
              <a:satOff val="12338"/>
              <a:lumOff val="-2667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Quality  of  Component  Testing  Effort  (QCTE) </a:t>
          </a:r>
          <a:endParaRPr lang="en-IN" sz="500" b="1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2149876" y="365048"/>
        <a:ext cx="439821" cy="268620"/>
      </dsp:txXfrm>
    </dsp:sp>
    <dsp:sp modelId="{81D4FAD6-4452-4418-BA7D-8A48D98A3152}">
      <dsp:nvSpPr>
        <dsp:cNvPr id="0" name=""/>
        <dsp:cNvSpPr/>
      </dsp:nvSpPr>
      <dsp:spPr>
        <a:xfrm>
          <a:off x="2038732" y="285357"/>
          <a:ext cx="91440" cy="57066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70669"/>
              </a:lnTo>
              <a:lnTo>
                <a:pt x="102786" y="570669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E6A24F-4B7B-4F11-8FD4-2FB33C20FCBF}">
      <dsp:nvSpPr>
        <dsp:cNvPr id="0" name=""/>
        <dsp:cNvSpPr/>
      </dsp:nvSpPr>
      <dsp:spPr>
        <a:xfrm>
          <a:off x="2141519" y="713360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3467510"/>
              <a:satOff val="16450"/>
              <a:lumOff val="-3555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UnTested</a:t>
          </a: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 and Poorly Tested Components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2149876" y="721717"/>
        <a:ext cx="439821" cy="268620"/>
      </dsp:txXfrm>
    </dsp:sp>
    <dsp:sp modelId="{46E07F22-DBDF-4CA3-A9DF-390F411C1AA9}">
      <dsp:nvSpPr>
        <dsp:cNvPr id="0" name=""/>
        <dsp:cNvSpPr/>
      </dsp:nvSpPr>
      <dsp:spPr>
        <a:xfrm>
          <a:off x="2038732" y="285357"/>
          <a:ext cx="91440" cy="92733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27338"/>
              </a:lnTo>
              <a:lnTo>
                <a:pt x="102786" y="927338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EA239D-358B-4796-82BF-9CDF6E15AE38}">
      <dsp:nvSpPr>
        <dsp:cNvPr id="0" name=""/>
        <dsp:cNvSpPr/>
      </dsp:nvSpPr>
      <dsp:spPr>
        <a:xfrm>
          <a:off x="2141519" y="1070029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4334387"/>
              <a:satOff val="20563"/>
              <a:lumOff val="-4444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verage for Complex Components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2149876" y="1078386"/>
        <a:ext cx="439821" cy="268620"/>
      </dsp:txXfrm>
    </dsp:sp>
    <dsp:sp modelId="{0398260D-6438-4E55-BCD2-A00A5E42A93A}">
      <dsp:nvSpPr>
        <dsp:cNvPr id="0" name=""/>
        <dsp:cNvSpPr/>
      </dsp:nvSpPr>
      <dsp:spPr>
        <a:xfrm>
          <a:off x="2740722" y="23"/>
          <a:ext cx="570669" cy="285334"/>
        </a:xfrm>
        <a:prstGeom prst="roundRect">
          <a:avLst>
            <a:gd name="adj" fmla="val 10000"/>
          </a:avLst>
        </a:prstGeom>
        <a:solidFill>
          <a:srgbClr val="989AAC">
            <a:hueOff val="-5201264"/>
            <a:satOff val="24676"/>
            <a:lumOff val="-5333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7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Development Efﬁciency</a:t>
          </a:r>
          <a:endParaRPr lang="en-IN" sz="7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2749079" y="8380"/>
        <a:ext cx="553955" cy="268620"/>
      </dsp:txXfrm>
    </dsp:sp>
    <dsp:sp modelId="{74FDE9A4-3863-42ED-BB24-5E56B0F71B13}">
      <dsp:nvSpPr>
        <dsp:cNvPr id="0" name=""/>
        <dsp:cNvSpPr/>
      </dsp:nvSpPr>
      <dsp:spPr>
        <a:xfrm>
          <a:off x="2752069" y="285357"/>
          <a:ext cx="91440" cy="2140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4001"/>
              </a:lnTo>
              <a:lnTo>
                <a:pt x="102786" y="214001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AAD282-4B45-4219-8EFC-1A3DB6DF0EFD}">
      <dsp:nvSpPr>
        <dsp:cNvPr id="0" name=""/>
        <dsp:cNvSpPr/>
      </dsp:nvSpPr>
      <dsp:spPr>
        <a:xfrm>
          <a:off x="2854856" y="356691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5201264"/>
              <a:satOff val="24676"/>
              <a:lumOff val="-5333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st of Development Index: CDI </a:t>
          </a:r>
          <a:endParaRPr lang="en-IN" sz="500" b="1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2863213" y="365048"/>
        <a:ext cx="439821" cy="268620"/>
      </dsp:txXfrm>
    </dsp:sp>
    <dsp:sp modelId="{DC3CFF5F-EFB1-490A-BECF-9CA27C76B1CE}">
      <dsp:nvSpPr>
        <dsp:cNvPr id="0" name=""/>
        <dsp:cNvSpPr/>
      </dsp:nvSpPr>
      <dsp:spPr>
        <a:xfrm>
          <a:off x="3454059" y="23"/>
          <a:ext cx="570669" cy="285334"/>
        </a:xfrm>
        <a:prstGeom prst="roundRect">
          <a:avLst>
            <a:gd name="adj" fmla="val 10000"/>
          </a:avLst>
        </a:prstGeom>
        <a:solidFill>
          <a:srgbClr val="989AAC">
            <a:hueOff val="-7801897"/>
            <a:satOff val="37013"/>
            <a:lumOff val="-800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Code Churn</a:t>
          </a:r>
          <a:endParaRPr lang="en-IN" sz="7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3462416" y="8380"/>
        <a:ext cx="553955" cy="268620"/>
      </dsp:txXfrm>
    </dsp:sp>
    <dsp:sp modelId="{C15F07A2-B854-4D39-8EBD-07CA762DEA26}">
      <dsp:nvSpPr>
        <dsp:cNvPr id="0" name=""/>
        <dsp:cNvSpPr/>
      </dsp:nvSpPr>
      <dsp:spPr>
        <a:xfrm>
          <a:off x="3465406" y="285357"/>
          <a:ext cx="91440" cy="2140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4001"/>
              </a:lnTo>
              <a:lnTo>
                <a:pt x="102786" y="214001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569AFE-FD59-4F6D-85F7-9C9FC9B60995}">
      <dsp:nvSpPr>
        <dsp:cNvPr id="0" name=""/>
        <dsp:cNvSpPr/>
      </dsp:nvSpPr>
      <dsp:spPr>
        <a:xfrm>
          <a:off x="3568193" y="356691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6068142"/>
              <a:satOff val="28788"/>
              <a:lumOff val="-6222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er package Code Churn trends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3576550" y="365048"/>
        <a:ext cx="439821" cy="268620"/>
      </dsp:txXfrm>
    </dsp:sp>
    <dsp:sp modelId="{84D814B1-4DAD-4885-8FE1-C9B9F40E78C5}">
      <dsp:nvSpPr>
        <dsp:cNvPr id="0" name=""/>
        <dsp:cNvSpPr/>
      </dsp:nvSpPr>
      <dsp:spPr>
        <a:xfrm>
          <a:off x="3465406" y="285357"/>
          <a:ext cx="91440" cy="57066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70669"/>
              </a:lnTo>
              <a:lnTo>
                <a:pt x="102786" y="570669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5A8287-95F1-4140-8EFE-3B3EBED975D2}">
      <dsp:nvSpPr>
        <dsp:cNvPr id="0" name=""/>
        <dsp:cNvSpPr/>
      </dsp:nvSpPr>
      <dsp:spPr>
        <a:xfrm>
          <a:off x="3568193" y="713360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6935019"/>
              <a:satOff val="32901"/>
              <a:lumOff val="-7111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Top code contributors 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3576550" y="721717"/>
        <a:ext cx="439821" cy="268620"/>
      </dsp:txXfrm>
    </dsp:sp>
    <dsp:sp modelId="{6BBCD323-5077-4370-8DB0-3DB8A655022B}">
      <dsp:nvSpPr>
        <dsp:cNvPr id="0" name=""/>
        <dsp:cNvSpPr/>
      </dsp:nvSpPr>
      <dsp:spPr>
        <a:xfrm>
          <a:off x="3465406" y="285357"/>
          <a:ext cx="91440" cy="92733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27338"/>
              </a:lnTo>
              <a:lnTo>
                <a:pt x="102786" y="927338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68AD88-E312-4599-860C-046FA67DAB83}">
      <dsp:nvSpPr>
        <dsp:cNvPr id="0" name=""/>
        <dsp:cNvSpPr/>
      </dsp:nvSpPr>
      <dsp:spPr>
        <a:xfrm>
          <a:off x="3568193" y="1070029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7801897"/>
              <a:satOff val="37013"/>
              <a:lumOff val="-800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er package code contributors.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3576550" y="1078386"/>
        <a:ext cx="439821" cy="268620"/>
      </dsp:txXfrm>
    </dsp:sp>
    <dsp:sp modelId="{E8A58551-1505-4117-978F-505F7A9CF408}">
      <dsp:nvSpPr>
        <dsp:cNvPr id="0" name=""/>
        <dsp:cNvSpPr/>
      </dsp:nvSpPr>
      <dsp:spPr>
        <a:xfrm>
          <a:off x="4167397" y="23"/>
          <a:ext cx="570669" cy="285334"/>
        </a:xfrm>
        <a:prstGeom prst="roundRect">
          <a:avLst>
            <a:gd name="adj" fmla="val 10000"/>
          </a:avLst>
        </a:prstGeom>
        <a:solidFill>
          <a:srgbClr val="989AAC">
            <a:hueOff val="-10402528"/>
            <a:satOff val="49351"/>
            <a:lumOff val="-10666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Team Analysis</a:t>
          </a:r>
          <a:endParaRPr lang="en-IN" sz="7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4175754" y="8380"/>
        <a:ext cx="553955" cy="268620"/>
      </dsp:txXfrm>
    </dsp:sp>
    <dsp:sp modelId="{E63CF7F2-3477-4012-8382-0D6733921D11}">
      <dsp:nvSpPr>
        <dsp:cNvPr id="0" name=""/>
        <dsp:cNvSpPr/>
      </dsp:nvSpPr>
      <dsp:spPr>
        <a:xfrm>
          <a:off x="4178744" y="285357"/>
          <a:ext cx="91440" cy="2140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4001"/>
              </a:lnTo>
              <a:lnTo>
                <a:pt x="102786" y="214001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902051-D898-4D99-92F6-2A31A83731BE}">
      <dsp:nvSpPr>
        <dsp:cNvPr id="0" name=""/>
        <dsp:cNvSpPr/>
      </dsp:nvSpPr>
      <dsp:spPr>
        <a:xfrm>
          <a:off x="4281530" y="356691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8668774"/>
              <a:satOff val="41126"/>
              <a:lumOff val="-8889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Highly Connected Resources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4289887" y="365048"/>
        <a:ext cx="439821" cy="268620"/>
      </dsp:txXfrm>
    </dsp:sp>
    <dsp:sp modelId="{428B6CF6-C51D-4C13-94AF-11F74ED6E7D9}">
      <dsp:nvSpPr>
        <dsp:cNvPr id="0" name=""/>
        <dsp:cNvSpPr/>
      </dsp:nvSpPr>
      <dsp:spPr>
        <a:xfrm>
          <a:off x="4178744" y="285357"/>
          <a:ext cx="91440" cy="57066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70669"/>
              </a:lnTo>
              <a:lnTo>
                <a:pt x="102786" y="570669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90CF9B-E43F-4F6E-8F26-E8FB3CB636EB}">
      <dsp:nvSpPr>
        <dsp:cNvPr id="0" name=""/>
        <dsp:cNvSpPr/>
      </dsp:nvSpPr>
      <dsp:spPr>
        <a:xfrm>
          <a:off x="4281530" y="713360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9535651"/>
              <a:satOff val="45239"/>
              <a:lumOff val="-9778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oorly Connected and Disconnected Resources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4289887" y="721717"/>
        <a:ext cx="439821" cy="268620"/>
      </dsp:txXfrm>
    </dsp:sp>
    <dsp:sp modelId="{583F64A8-4A88-4C58-A68C-5E3E8C5D16B2}">
      <dsp:nvSpPr>
        <dsp:cNvPr id="0" name=""/>
        <dsp:cNvSpPr/>
      </dsp:nvSpPr>
      <dsp:spPr>
        <a:xfrm>
          <a:off x="4178744" y="285357"/>
          <a:ext cx="91440" cy="92733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27338"/>
              </a:lnTo>
              <a:lnTo>
                <a:pt x="102786" y="927338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1685E7-0A3F-48F6-B542-FDEFF91ADCCF}">
      <dsp:nvSpPr>
        <dsp:cNvPr id="0" name=""/>
        <dsp:cNvSpPr/>
      </dsp:nvSpPr>
      <dsp:spPr>
        <a:xfrm>
          <a:off x="4281530" y="1070029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0402528"/>
              <a:satOff val="49351"/>
              <a:lumOff val="-10666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rogrammer Fragmentation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4289887" y="1078386"/>
        <a:ext cx="439821" cy="268620"/>
      </dsp:txXfrm>
    </dsp:sp>
    <dsp:sp modelId="{1AC3E5DF-91EE-4487-93A5-7726E57B26E5}">
      <dsp:nvSpPr>
        <dsp:cNvPr id="0" name=""/>
        <dsp:cNvSpPr/>
      </dsp:nvSpPr>
      <dsp:spPr>
        <a:xfrm>
          <a:off x="4880734" y="23"/>
          <a:ext cx="570669" cy="285334"/>
        </a:xfrm>
        <a:prstGeom prst="roundRect">
          <a:avLst>
            <a:gd name="adj" fmla="val 10000"/>
          </a:avLst>
        </a:prstGeom>
        <a:solidFill>
          <a:srgbClr val="989AAC">
            <a:hueOff val="-13003161"/>
            <a:satOff val="61689"/>
            <a:lumOff val="-13333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lvl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>
              <a:solidFill>
                <a:srgbClr val="FFFFFF"/>
              </a:solidFill>
              <a:latin typeface="Arial"/>
              <a:ea typeface="+mn-ea"/>
              <a:cs typeface="+mn-cs"/>
            </a:rPr>
            <a:t>Composite Reports</a:t>
          </a:r>
          <a:endParaRPr lang="en-IN" sz="7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4889091" y="8380"/>
        <a:ext cx="553955" cy="268620"/>
      </dsp:txXfrm>
    </dsp:sp>
    <dsp:sp modelId="{8037698F-8376-45AB-B4E6-73C66D091398}">
      <dsp:nvSpPr>
        <dsp:cNvPr id="0" name=""/>
        <dsp:cNvSpPr/>
      </dsp:nvSpPr>
      <dsp:spPr>
        <a:xfrm>
          <a:off x="4892081" y="285357"/>
          <a:ext cx="91440" cy="2140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4001"/>
              </a:lnTo>
              <a:lnTo>
                <a:pt x="102786" y="214001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0E51E9-7D91-41D3-B31F-E91970EAC4EB}">
      <dsp:nvSpPr>
        <dsp:cNvPr id="0" name=""/>
        <dsp:cNvSpPr/>
      </dsp:nvSpPr>
      <dsp:spPr>
        <a:xfrm>
          <a:off x="4994868" y="356691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1269406"/>
              <a:satOff val="53464"/>
              <a:lumOff val="-11555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de  churn  and  rate  of  increase  of quality  issues,  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5003225" y="365048"/>
        <a:ext cx="439821" cy="268620"/>
      </dsp:txXfrm>
    </dsp:sp>
    <dsp:sp modelId="{BCEF6BDC-BE1F-43B4-B79C-6056AF29A1E2}">
      <dsp:nvSpPr>
        <dsp:cNvPr id="0" name=""/>
        <dsp:cNvSpPr/>
      </dsp:nvSpPr>
      <dsp:spPr>
        <a:xfrm>
          <a:off x="4892081" y="285357"/>
          <a:ext cx="91440" cy="57066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70669"/>
              </a:lnTo>
              <a:lnTo>
                <a:pt x="102786" y="570669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E744B1-5EED-452F-AF65-DC5BDC015F9E}">
      <dsp:nvSpPr>
        <dsp:cNvPr id="0" name=""/>
        <dsp:cNvSpPr/>
      </dsp:nvSpPr>
      <dsp:spPr>
        <a:xfrm>
          <a:off x="4994868" y="713360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2136284"/>
              <a:satOff val="57576"/>
              <a:lumOff val="-12444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de  churn  and  QCTE 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5003225" y="721717"/>
        <a:ext cx="439821" cy="268620"/>
      </dsp:txXfrm>
    </dsp:sp>
    <dsp:sp modelId="{B74A6951-CE7B-4FB6-A90E-F6EB9CA7F250}">
      <dsp:nvSpPr>
        <dsp:cNvPr id="0" name=""/>
        <dsp:cNvSpPr/>
      </dsp:nvSpPr>
      <dsp:spPr>
        <a:xfrm>
          <a:off x="4892081" y="285357"/>
          <a:ext cx="91440" cy="92733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27338"/>
              </a:lnTo>
              <a:lnTo>
                <a:pt x="102786" y="927338"/>
              </a:lnTo>
            </a:path>
          </a:pathLst>
        </a:custGeom>
        <a:noFill/>
        <a:ln w="25400" cap="flat" cmpd="sng" algn="ctr">
          <a:solidFill>
            <a:srgbClr val="DC5924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FAF015-B2A8-4399-BAF9-EF33A03EB6F0}">
      <dsp:nvSpPr>
        <dsp:cNvPr id="0" name=""/>
        <dsp:cNvSpPr/>
      </dsp:nvSpPr>
      <dsp:spPr>
        <a:xfrm>
          <a:off x="4994868" y="1070029"/>
          <a:ext cx="456535" cy="285334"/>
        </a:xfrm>
        <a:prstGeom prst="roundRect">
          <a:avLst>
            <a:gd name="adj" fmla="val 10000"/>
          </a:avLst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89AAC">
              <a:hueOff val="-13003161"/>
              <a:satOff val="61689"/>
              <a:lumOff val="-13333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6350" rIns="9525" bIns="6350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5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Code  churn and CQI</a:t>
          </a:r>
          <a:endParaRPr lang="en-IN" sz="5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5003225" y="1078386"/>
        <a:ext cx="439821" cy="26862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7D53BF-429F-446C-A339-72F7E5DDD5A6}">
      <dsp:nvSpPr>
        <dsp:cNvPr id="0" name=""/>
        <dsp:cNvSpPr/>
      </dsp:nvSpPr>
      <dsp:spPr>
        <a:xfrm>
          <a:off x="0" y="5"/>
          <a:ext cx="3995789" cy="90601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ositive behavioral change can be effected by a well-designed insight.</a:t>
          </a:r>
          <a:endParaRPr lang="en-US" sz="1400" kern="1200" dirty="0"/>
        </a:p>
      </dsp:txBody>
      <dsp:txXfrm>
        <a:off x="44228" y="44233"/>
        <a:ext cx="3907333" cy="817555"/>
      </dsp:txXfrm>
    </dsp:sp>
    <dsp:sp modelId="{B0F8942E-9E69-4793-99D0-94654B3F62D5}">
      <dsp:nvSpPr>
        <dsp:cNvPr id="0" name=""/>
        <dsp:cNvSpPr/>
      </dsp:nvSpPr>
      <dsp:spPr>
        <a:xfrm>
          <a:off x="0" y="919770"/>
          <a:ext cx="3995789" cy="90601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Metrics and insights need to be intuitive </a:t>
          </a:r>
          <a:r>
            <a:rPr lang="en-US" sz="1400" kern="1200" dirty="0" smtClean="0"/>
            <a:t>defined to for </a:t>
          </a:r>
          <a:r>
            <a:rPr lang="en-US" sz="1400" kern="1200" dirty="0" smtClean="0"/>
            <a:t>project managers to adopt </a:t>
          </a:r>
          <a:r>
            <a:rPr lang="en-US" sz="1400" kern="1200" dirty="0" smtClean="0"/>
            <a:t>and take action on them</a:t>
          </a:r>
          <a:r>
            <a:rPr lang="en-US" sz="1400" kern="1200" dirty="0" smtClean="0"/>
            <a:t>.</a:t>
          </a:r>
          <a:endParaRPr lang="en-US" sz="1400" kern="1200" dirty="0"/>
        </a:p>
      </dsp:txBody>
      <dsp:txXfrm>
        <a:off x="44228" y="963998"/>
        <a:ext cx="3907333" cy="817555"/>
      </dsp:txXfrm>
    </dsp:sp>
    <dsp:sp modelId="{388ED8FA-901F-441E-BE2A-35AD04DEC86B}">
      <dsp:nvSpPr>
        <dsp:cNvPr id="0" name=""/>
        <dsp:cNvSpPr/>
      </dsp:nvSpPr>
      <dsp:spPr>
        <a:xfrm>
          <a:off x="0" y="1839534"/>
          <a:ext cx="3995789" cy="90601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Integrating the insights obtained through development data and associating it with the Agile release / sprint </a:t>
          </a:r>
          <a:r>
            <a:rPr lang="en-US" sz="1400" kern="1200" dirty="0" smtClean="0"/>
            <a:t>plans and roles </a:t>
          </a:r>
          <a:r>
            <a:rPr lang="en-US" sz="1400" kern="1200" dirty="0" smtClean="0"/>
            <a:t>helps manage feature velocity and technical debt.</a:t>
          </a:r>
          <a:endParaRPr lang="en-US" sz="1400" kern="1200" dirty="0"/>
        </a:p>
      </dsp:txBody>
      <dsp:txXfrm>
        <a:off x="44228" y="1883762"/>
        <a:ext cx="3907333" cy="81755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27EC24-67E8-4997-9691-0B452CCF6892}">
      <dsp:nvSpPr>
        <dsp:cNvPr id="0" name=""/>
        <dsp:cNvSpPr/>
      </dsp:nvSpPr>
      <dsp:spPr>
        <a:xfrm>
          <a:off x="0" y="455"/>
          <a:ext cx="3998020" cy="90567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lanned roles </a:t>
          </a:r>
          <a:r>
            <a:rPr lang="en-US" sz="1400" kern="1200" dirty="0" smtClean="0"/>
            <a:t>change and are important to understand team dynamics. </a:t>
          </a:r>
          <a:r>
            <a:rPr lang="en-US" sz="1400" kern="1200" dirty="0" smtClean="0"/>
            <a:t>The changes are visible only through objective on-ground </a:t>
          </a:r>
          <a:r>
            <a:rPr lang="en-US" sz="1400" kern="1200" dirty="0" smtClean="0"/>
            <a:t>data.</a:t>
          </a:r>
          <a:endParaRPr lang="en-US" sz="1400" kern="1200" dirty="0"/>
        </a:p>
      </dsp:txBody>
      <dsp:txXfrm>
        <a:off x="44211" y="44666"/>
        <a:ext cx="3909598" cy="817251"/>
      </dsp:txXfrm>
    </dsp:sp>
    <dsp:sp modelId="{8BDFE00F-DA5B-4E1E-B599-043F2DDDCC1B}">
      <dsp:nvSpPr>
        <dsp:cNvPr id="0" name=""/>
        <dsp:cNvSpPr/>
      </dsp:nvSpPr>
      <dsp:spPr>
        <a:xfrm>
          <a:off x="0" y="919939"/>
          <a:ext cx="3998020" cy="90567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ata-driven approach to measuring micro-process adoption provides fine-grained insights for methodology adoption.</a:t>
          </a:r>
          <a:endParaRPr lang="en-US" sz="1400" kern="1200" dirty="0"/>
        </a:p>
      </dsp:txBody>
      <dsp:txXfrm>
        <a:off x="44211" y="964150"/>
        <a:ext cx="3909598" cy="817251"/>
      </dsp:txXfrm>
    </dsp:sp>
    <dsp:sp modelId="{02CC0824-DCF0-411C-9DA8-1CB0E203E147}">
      <dsp:nvSpPr>
        <dsp:cNvPr id="0" name=""/>
        <dsp:cNvSpPr/>
      </dsp:nvSpPr>
      <dsp:spPr>
        <a:xfrm>
          <a:off x="0" y="1839422"/>
          <a:ext cx="3998020" cy="90567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smtClean="0"/>
            <a:t>Balancing between insights and privacy is a generally important consideration for any tool that uses data or meta-data to identify patterns and suggests recommendations</a:t>
          </a:r>
          <a:endParaRPr lang="en-US" sz="1400" kern="1200"/>
        </a:p>
      </dsp:txBody>
      <dsp:txXfrm>
        <a:off x="44211" y="1883633"/>
        <a:ext cx="3909598" cy="8172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731B9-D2D4-4D43-8CBF-D0184DDEB7D7}" type="datetimeFigureOut">
              <a:rPr lang="en-AU" smtClean="0"/>
              <a:t>9/11/2015</a:t>
            </a:fld>
            <a:endParaRPr lang="en-A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A0147-0BBB-4754-93D4-F4A2B787A1C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55195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85800" y="0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287587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239713" y="336550"/>
            <a:ext cx="7337426" cy="4127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572000"/>
            <a:ext cx="5486400" cy="388620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85800" y="8685213"/>
            <a:ext cx="2286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2004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5053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42946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685891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028837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371783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714729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674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620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566" algn="l" defTabSz="6858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3183" y="370206"/>
            <a:ext cx="3408613" cy="5610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 userDrawn="1"/>
        </p:nvGrpSpPr>
        <p:grpSpPr>
          <a:xfrm>
            <a:off x="6519427" y="1801136"/>
            <a:ext cx="2306397" cy="1545330"/>
            <a:chOff x="5659332" y="620688"/>
            <a:chExt cx="3074395" cy="2060440"/>
          </a:xfrm>
        </p:grpSpPr>
        <p:sp>
          <p:nvSpPr>
            <p:cNvPr id="13" name="Freeform 8"/>
            <p:cNvSpPr/>
            <p:nvPr userDrawn="1"/>
          </p:nvSpPr>
          <p:spPr>
            <a:xfrm>
              <a:off x="6121920" y="620688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4" name="Picture 10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9332" y="1453505"/>
              <a:ext cx="3074395" cy="251999"/>
            </a:xfrm>
            <a:prstGeom prst="rect">
              <a:avLst/>
            </a:prstGeom>
          </p:spPr>
        </p:pic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716" y="4641528"/>
            <a:ext cx="3521341" cy="171449"/>
          </a:xfrm>
          <a:prstGeom prst="rect">
            <a:avLst/>
          </a:prstGeom>
        </p:spPr>
      </p:pic>
      <p:sp>
        <p:nvSpPr>
          <p:cNvPr id="10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373063" y="2579824"/>
            <a:ext cx="4330863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73063" y="1431234"/>
            <a:ext cx="433086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50888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380355" y="1071015"/>
            <a:ext cx="3995789" cy="3634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A000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/>
          </p:nvPr>
        </p:nvSpPr>
        <p:spPr>
          <a:xfrm>
            <a:off x="4771977" y="1070373"/>
            <a:ext cx="3998020" cy="3634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A000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8863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16"/>
          </p:nvPr>
        </p:nvSpPr>
        <p:spPr>
          <a:xfrm>
            <a:off x="380355" y="1071015"/>
            <a:ext cx="3995789" cy="3634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20"/>
          </p:nvPr>
        </p:nvSpPr>
        <p:spPr>
          <a:xfrm>
            <a:off x="4771977" y="1070373"/>
            <a:ext cx="3998020" cy="3634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213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4862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9144000" cy="51435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/>
          <p:cNvSpPr txBox="1"/>
          <p:nvPr userDrawn="1"/>
        </p:nvSpPr>
        <p:spPr>
          <a:xfrm>
            <a:off x="38100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5 Accenture  All rights reserved.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‹#›</a:t>
            </a:fld>
            <a:endParaRPr lang="en-US" sz="90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139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_Green">
    <p:bg bwMode="auto">
      <p:bgPr>
        <a:solidFill>
          <a:srgbClr val="00A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74003" y="2570560"/>
            <a:ext cx="8395995" cy="8721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‹#›</a:t>
            </a:fld>
            <a:endParaRPr lang="en-US" sz="9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_Yellow Orange">
    <p:bg bwMode="auto">
      <p:bgPr>
        <a:solidFill>
          <a:srgbClr val="FF9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74003" y="2570560"/>
            <a:ext cx="8395995" cy="8721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rgbClr val="00A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rgbClr val="00A000"/>
                </a:solidFill>
                <a:latin typeface="Arial" pitchFamily="34" charset="0"/>
                <a:cs typeface="Arial" pitchFamily="34" charset="0"/>
              </a:rPr>
              <a:t>‹#›</a:t>
            </a:fld>
            <a:endParaRPr lang="en-US" sz="900" dirty="0" smtClean="0">
              <a:solidFill>
                <a:srgbClr val="00A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826922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_Tangerine">
    <p:bg bwMode="auto">
      <p:bgPr>
        <a:solidFill>
          <a:srgbClr val="FF7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74003" y="2570560"/>
            <a:ext cx="8395995" cy="8721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rgbClr val="00A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rgbClr val="00A000"/>
                </a:solidFill>
                <a:latin typeface="Arial" pitchFamily="34" charset="0"/>
                <a:cs typeface="Arial" pitchFamily="34" charset="0"/>
              </a:rPr>
              <a:t>‹#›</a:t>
            </a:fld>
            <a:endParaRPr lang="en-US" sz="900" dirty="0" smtClean="0">
              <a:solidFill>
                <a:srgbClr val="00A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118841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4_Espresso">
    <p:bg bwMode="auto">
      <p:bgPr>
        <a:solidFill>
          <a:srgbClr val="4E2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74003" y="2570560"/>
            <a:ext cx="8395995" cy="8721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rgbClr val="00A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rgbClr val="00A000"/>
                </a:solidFill>
                <a:latin typeface="Arial" pitchFamily="34" charset="0"/>
                <a:cs typeface="Arial" pitchFamily="34" charset="0"/>
              </a:rPr>
              <a:t>‹#›</a:t>
            </a:fld>
            <a:endParaRPr lang="en-US" sz="900" dirty="0" smtClean="0">
              <a:solidFill>
                <a:srgbClr val="00A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695908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6_Red Violet">
    <p:bg bwMode="auto">
      <p:bgPr>
        <a:solidFill>
          <a:srgbClr val="5511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74003" y="2570560"/>
            <a:ext cx="8395995" cy="8721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rgbClr val="00A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rgbClr val="00A000"/>
                </a:solidFill>
                <a:latin typeface="Arial" pitchFamily="34" charset="0"/>
                <a:cs typeface="Arial" pitchFamily="34" charset="0"/>
              </a:rPr>
              <a:t>‹#›</a:t>
            </a:fld>
            <a:endParaRPr lang="en-US" sz="900" dirty="0" smtClean="0">
              <a:solidFill>
                <a:srgbClr val="00A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984983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7_Deep Violet">
    <p:bg bwMode="auto">
      <p:bgPr>
        <a:solidFill>
          <a:srgbClr val="0022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74003" y="2570560"/>
            <a:ext cx="8395995" cy="8721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rgbClr val="00A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rgbClr val="00A000"/>
                </a:solidFill>
                <a:latin typeface="Arial" pitchFamily="34" charset="0"/>
                <a:cs typeface="Arial" pitchFamily="34" charset="0"/>
              </a:rPr>
              <a:t>‹#›</a:t>
            </a:fld>
            <a:endParaRPr lang="en-US" sz="900" dirty="0" smtClean="0">
              <a:solidFill>
                <a:srgbClr val="00A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101070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Yellow Orange">
    <p:bg>
      <p:bgPr>
        <a:solidFill>
          <a:srgbClr val="FF9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821" y="377960"/>
            <a:ext cx="3408288" cy="54684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/>
          <p:cNvGrpSpPr/>
          <p:nvPr userDrawn="1"/>
        </p:nvGrpSpPr>
        <p:grpSpPr>
          <a:xfrm>
            <a:off x="6517402" y="1798791"/>
            <a:ext cx="2306397" cy="1545330"/>
            <a:chOff x="5701703" y="682760"/>
            <a:chExt cx="3074395" cy="2060440"/>
          </a:xfrm>
        </p:grpSpPr>
        <p:sp>
          <p:nvSpPr>
            <p:cNvPr id="7" name="Freeform 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722" y="4641528"/>
            <a:ext cx="3521326" cy="171449"/>
          </a:xfrm>
          <a:prstGeom prst="rect">
            <a:avLst/>
          </a:prstGeom>
        </p:spPr>
      </p:pic>
      <p:sp>
        <p:nvSpPr>
          <p:cNvPr id="16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373063" y="2579824"/>
            <a:ext cx="4330863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373063" y="1431234"/>
            <a:ext cx="433086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presentation title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8_Ink Blue">
    <p:bg bwMode="auto">
      <p:bgPr>
        <a:solidFill>
          <a:srgbClr val="0033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74003" y="2570560"/>
            <a:ext cx="8395995" cy="8721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2700" b="0" spc="0" baseline="0">
                <a:solidFill>
                  <a:srgbClr val="00A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rgbClr val="00A000"/>
                </a:solidFill>
                <a:latin typeface="Arial" pitchFamily="34" charset="0"/>
                <a:cs typeface="Arial" pitchFamily="34" charset="0"/>
              </a:rPr>
              <a:t>‹#›</a:t>
            </a:fld>
            <a:endParaRPr lang="en-US" sz="900" dirty="0" smtClean="0">
              <a:solidFill>
                <a:srgbClr val="00A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9569102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"/>
            <a:ext cx="8203443" cy="82672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955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E49437D-175E-48C0-8B5E-1F0D41D2E8DC}" type="datetimeFigureOut">
              <a:rPr lang="en-IN" smtClean="0"/>
              <a:t>09-11-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375EA807-5538-422E-8811-D6073AC922A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74379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_Tangerine">
    <p:bg>
      <p:bgPr>
        <a:solidFill>
          <a:srgbClr val="FF7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821" y="377960"/>
            <a:ext cx="3408288" cy="54684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 userDrawn="1"/>
        </p:nvGrpSpPr>
        <p:grpSpPr>
          <a:xfrm>
            <a:off x="6517402" y="1798791"/>
            <a:ext cx="2306397" cy="154533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722" y="4641528"/>
            <a:ext cx="3521326" cy="171449"/>
          </a:xfrm>
          <a:prstGeom prst="rect">
            <a:avLst/>
          </a:prstGeom>
        </p:spPr>
      </p:pic>
      <p:sp>
        <p:nvSpPr>
          <p:cNvPr id="20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373063" y="2579824"/>
            <a:ext cx="4330863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373063" y="1431234"/>
            <a:ext cx="433086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062606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_Espresso">
    <p:bg>
      <p:bgPr>
        <a:solidFill>
          <a:srgbClr val="4E2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821" y="377960"/>
            <a:ext cx="3408288" cy="54684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 userDrawn="1"/>
        </p:nvGrpSpPr>
        <p:grpSpPr>
          <a:xfrm>
            <a:off x="6517402" y="1798791"/>
            <a:ext cx="2306397" cy="154533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722" y="4641528"/>
            <a:ext cx="3521326" cy="171449"/>
          </a:xfrm>
          <a:prstGeom prst="rect">
            <a:avLst/>
          </a:prstGeom>
        </p:spPr>
      </p:pic>
      <p:sp>
        <p:nvSpPr>
          <p:cNvPr id="20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373063" y="2579824"/>
            <a:ext cx="4330863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373063" y="1431234"/>
            <a:ext cx="433086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139735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_Red Violet">
    <p:bg>
      <p:bgPr>
        <a:solidFill>
          <a:srgbClr val="5511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821" y="377960"/>
            <a:ext cx="3408288" cy="54684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 userDrawn="1"/>
        </p:nvGrpSpPr>
        <p:grpSpPr>
          <a:xfrm>
            <a:off x="6517402" y="1798791"/>
            <a:ext cx="2306397" cy="154533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722" y="4641528"/>
            <a:ext cx="3521326" cy="171449"/>
          </a:xfrm>
          <a:prstGeom prst="rect">
            <a:avLst/>
          </a:prstGeom>
        </p:spPr>
      </p:pic>
      <p:sp>
        <p:nvSpPr>
          <p:cNvPr id="20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373063" y="2579824"/>
            <a:ext cx="4330863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373063" y="1431234"/>
            <a:ext cx="433086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9589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_Deep Violet">
    <p:bg>
      <p:bgPr>
        <a:solidFill>
          <a:srgbClr val="0022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821" y="377960"/>
            <a:ext cx="3408288" cy="54684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 userDrawn="1"/>
        </p:nvGrpSpPr>
        <p:grpSpPr>
          <a:xfrm>
            <a:off x="6517402" y="1798791"/>
            <a:ext cx="2306397" cy="154533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722" y="4641528"/>
            <a:ext cx="3521326" cy="171449"/>
          </a:xfrm>
          <a:prstGeom prst="rect">
            <a:avLst/>
          </a:prstGeom>
        </p:spPr>
      </p:pic>
      <p:sp>
        <p:nvSpPr>
          <p:cNvPr id="20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373063" y="2579824"/>
            <a:ext cx="4330863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373063" y="1431234"/>
            <a:ext cx="433086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65121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_Ink Blue">
    <p:bg>
      <p:bgPr>
        <a:solidFill>
          <a:srgbClr val="0033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8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821" y="377960"/>
            <a:ext cx="3408288" cy="54684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 userDrawn="1"/>
        </p:nvGrpSpPr>
        <p:grpSpPr>
          <a:xfrm>
            <a:off x="6517402" y="1798791"/>
            <a:ext cx="2306397" cy="1545330"/>
            <a:chOff x="5701703" y="682760"/>
            <a:chExt cx="3074395" cy="2060440"/>
          </a:xfrm>
        </p:grpSpPr>
        <p:sp>
          <p:nvSpPr>
            <p:cNvPr id="17" name="Freeform 16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722" y="4641528"/>
            <a:ext cx="3521326" cy="171449"/>
          </a:xfrm>
          <a:prstGeom prst="rect">
            <a:avLst/>
          </a:prstGeom>
        </p:spPr>
      </p:pic>
      <p:sp>
        <p:nvSpPr>
          <p:cNvPr id="20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373063" y="2579824"/>
            <a:ext cx="4330863" cy="46756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bg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373063" y="1431234"/>
            <a:ext cx="433086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600" b="1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24817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80355" y="1070373"/>
            <a:ext cx="8389643" cy="35016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rgbClr val="00A000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79722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80355" y="1070373"/>
            <a:ext cx="8389643" cy="35016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972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80354" y="241300"/>
            <a:ext cx="8389643" cy="629676"/>
          </a:xfrm>
          <a:prstGeom prst="rect">
            <a:avLst/>
          </a:prstGeom>
        </p:spPr>
        <p:txBody>
          <a:bodyPr vert="horz" lIns="0" tIns="34295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AU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80355" y="915989"/>
            <a:ext cx="8763646" cy="0"/>
          </a:xfrm>
          <a:prstGeom prst="line">
            <a:avLst/>
          </a:prstGeom>
          <a:ln w="12700">
            <a:solidFill>
              <a:srgbClr val="00A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/>
          <p:cNvSpPr>
            <a:spLocks noGrp="1"/>
          </p:cNvSpPr>
          <p:nvPr>
            <p:ph type="body" idx="1"/>
          </p:nvPr>
        </p:nvSpPr>
        <p:spPr>
          <a:xfrm>
            <a:off x="380354" y="1070373"/>
            <a:ext cx="8389643" cy="3394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8100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pyright © 2015 Accenture 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18250" y="4765674"/>
            <a:ext cx="2451100" cy="21375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5CEDFA-A6BA-4442-9084-8B31DC7F089C}" type="slidenum">
              <a:rPr lang="en-US" sz="9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‹#›</a:t>
            </a:fld>
            <a:endParaRPr lang="en-US" sz="60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699" r:id="rId2"/>
    <p:sldLayoutId id="2147483710" r:id="rId3"/>
    <p:sldLayoutId id="2147483711" r:id="rId4"/>
    <p:sldLayoutId id="2147483714" r:id="rId5"/>
    <p:sldLayoutId id="2147483715" r:id="rId6"/>
    <p:sldLayoutId id="2147483716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01" r:id="rId14"/>
    <p:sldLayoutId id="2147483708" r:id="rId15"/>
    <p:sldLayoutId id="2147483717" r:id="rId16"/>
    <p:sldLayoutId id="2147483718" r:id="rId17"/>
    <p:sldLayoutId id="2147483721" r:id="rId18"/>
    <p:sldLayoutId id="2147483722" r:id="rId19"/>
    <p:sldLayoutId id="2147483723" r:id="rId20"/>
    <p:sldLayoutId id="2147483707" r:id="rId21"/>
    <p:sldLayoutId id="2147483730" r:id="rId2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charset="0"/>
        </a:defRPr>
      </a:lvl5pPr>
      <a:lvl6pPr marL="342946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685891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028837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371783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225"/>
        </a:spcBef>
        <a:spcAft>
          <a:spcPts val="225"/>
        </a:spcAft>
        <a:buFont typeface="Arial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72690" indent="-141704" algn="l" rtl="0" eaLnBrk="1" fontAlgn="base" hangingPunct="1">
        <a:spcBef>
          <a:spcPts val="225"/>
        </a:spcBef>
        <a:spcAft>
          <a:spcPts val="225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03676" indent="-130986" algn="l" rtl="0" eaLnBrk="1" fontAlgn="base" hangingPunct="1">
        <a:spcBef>
          <a:spcPts val="225"/>
        </a:spcBef>
        <a:spcAft>
          <a:spcPts val="225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662" indent="-130986" algn="l" rtl="0" eaLnBrk="1" fontAlgn="base" hangingPunct="1">
        <a:spcBef>
          <a:spcPts val="225"/>
        </a:spcBef>
        <a:spcAft>
          <a:spcPts val="225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6365" indent="-141704" algn="l" rtl="0" eaLnBrk="1" fontAlgn="base" hangingPunct="1">
        <a:spcBef>
          <a:spcPts val="225"/>
        </a:spcBef>
        <a:spcAft>
          <a:spcPts val="225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8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image" Target="../media/image13.png"/><Relationship Id="rId3" Type="http://schemas.microsoft.com/office/2007/relationships/hdphoto" Target="../media/hdphoto1.wdp"/><Relationship Id="rId7" Type="http://schemas.openxmlformats.org/officeDocument/2006/relationships/diagramData" Target="../diagrams/data4.xml"/><Relationship Id="rId12" Type="http://schemas.openxmlformats.org/officeDocument/2006/relationships/image" Target="../media/image12.png"/><Relationship Id="rId2" Type="http://schemas.openxmlformats.org/officeDocument/2006/relationships/image" Target="../media/image9.png"/><Relationship Id="rId16" Type="http://schemas.microsoft.com/office/2007/relationships/hdphoto" Target="../media/hdphoto3.wdp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jpeg"/><Relationship Id="rId11" Type="http://schemas.microsoft.com/office/2007/relationships/diagramDrawing" Target="../diagrams/drawing4.xml"/><Relationship Id="rId5" Type="http://schemas.microsoft.com/office/2007/relationships/hdphoto" Target="../media/hdphoto2.wdp"/><Relationship Id="rId15" Type="http://schemas.openxmlformats.org/officeDocument/2006/relationships/image" Target="../media/image15.png"/><Relationship Id="rId10" Type="http://schemas.openxmlformats.org/officeDocument/2006/relationships/diagramColors" Target="../diagrams/colors4.xml"/><Relationship Id="rId4" Type="http://schemas.openxmlformats.org/officeDocument/2006/relationships/image" Target="../media/image10.png"/><Relationship Id="rId9" Type="http://schemas.openxmlformats.org/officeDocument/2006/relationships/diagramQuickStyle" Target="../diagrams/quickStyle4.xml"/><Relationship Id="rId1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14" y="950814"/>
            <a:ext cx="4586556" cy="91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73063" y="3037024"/>
            <a:ext cx="4330863" cy="467562"/>
          </a:xfrm>
        </p:spPr>
        <p:txBody>
          <a:bodyPr/>
          <a:lstStyle/>
          <a:p>
            <a:r>
              <a:rPr lang="en-US" sz="1600" dirty="0" smtClean="0"/>
              <a:t>Vikrant Kaulgud and Vibhu S. Sharma </a:t>
            </a:r>
            <a:r>
              <a:rPr lang="en-US" sz="1600" baseline="30000" dirty="0" smtClean="0">
                <a:sym typeface="Wingdings" panose="05000000000000000000" pitchFamily="2" charset="2"/>
              </a:rPr>
              <a:t> </a:t>
            </a:r>
            <a:endParaRPr lang="en-US" sz="1600" baseline="30000" dirty="0"/>
          </a:p>
          <a:p>
            <a:endParaRPr lang="en-US" sz="1600" dirty="0"/>
          </a:p>
        </p:txBody>
      </p:sp>
      <p:sp>
        <p:nvSpPr>
          <p:cNvPr id="8" name="Title 2"/>
          <p:cNvSpPr>
            <a:spLocks noGrp="1"/>
          </p:cNvSpPr>
          <p:nvPr>
            <p:ph type="ctrTitle"/>
          </p:nvPr>
        </p:nvSpPr>
        <p:spPr>
          <a:xfrm>
            <a:off x="373063" y="1888434"/>
            <a:ext cx="4330865" cy="996950"/>
          </a:xfrm>
        </p:spPr>
        <p:txBody>
          <a:bodyPr/>
          <a:lstStyle/>
          <a:p>
            <a:r>
              <a:rPr lang="en-US" sz="2000" dirty="0" smtClean="0"/>
              <a:t>Software Development Analytics: </a:t>
            </a:r>
            <a:r>
              <a:rPr lang="en-US" sz="2000" dirty="0" smtClean="0"/>
              <a:t>Our Experiences </a:t>
            </a:r>
            <a:r>
              <a:rPr lang="en-US" sz="2000" dirty="0" smtClean="0"/>
              <a:t>and the Way Forwar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7546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800" dirty="0" smtClean="0"/>
              <a:t>Significant changes </a:t>
            </a:r>
            <a:r>
              <a:rPr lang="en-US" sz="1800" dirty="0"/>
              <a:t>in the </a:t>
            </a:r>
            <a:r>
              <a:rPr lang="en-US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nvironments in which insights are </a:t>
            </a:r>
            <a:r>
              <a:rPr lang="en-US" sz="18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generated </a:t>
            </a:r>
            <a:r>
              <a:rPr lang="en-US" sz="1800" dirty="0" smtClean="0"/>
              <a:t>(Crowd </a:t>
            </a:r>
            <a:r>
              <a:rPr lang="en-US" sz="1800" dirty="0"/>
              <a:t>and Development in Cloud), </a:t>
            </a:r>
            <a:r>
              <a:rPr lang="en-US" sz="1800" dirty="0" smtClean="0"/>
              <a:t>new </a:t>
            </a:r>
            <a:r>
              <a:rPr lang="en-US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nsights </a:t>
            </a:r>
            <a:r>
              <a:rPr lang="en-US" sz="18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required for </a:t>
            </a:r>
            <a:r>
              <a:rPr lang="en-US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anaging ever-increasing distributed developer </a:t>
            </a:r>
            <a:r>
              <a:rPr lang="en-US" sz="18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orkforce </a:t>
            </a:r>
            <a:r>
              <a:rPr lang="en-US" sz="1800" dirty="0" smtClean="0"/>
              <a:t>(distributed </a:t>
            </a:r>
            <a:r>
              <a:rPr lang="en-US" sz="1800" dirty="0"/>
              <a:t>team awareness and coordination), </a:t>
            </a:r>
            <a:endParaRPr lang="en-US" sz="1800" dirty="0" smtClean="0"/>
          </a:p>
          <a:p>
            <a:r>
              <a:rPr lang="en-US" sz="18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insights driving intelligent </a:t>
            </a:r>
            <a:r>
              <a:rPr lang="en-US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software </a:t>
            </a:r>
            <a:r>
              <a:rPr lang="en-US" sz="1800" dirty="0"/>
              <a:t>(IoT </a:t>
            </a:r>
            <a:r>
              <a:rPr lang="en-US" sz="1800" dirty="0" smtClean="0"/>
              <a:t>inspired ‘software </a:t>
            </a:r>
            <a:r>
              <a:rPr lang="en-US" sz="1800" dirty="0"/>
              <a:t>actuators’), </a:t>
            </a:r>
            <a:r>
              <a:rPr lang="en-US" sz="1800" dirty="0" smtClean="0"/>
              <a:t>and finally </a:t>
            </a:r>
            <a:r>
              <a:rPr lang="en-US" sz="1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nsights frameworks that leverage cognitive </a:t>
            </a:r>
            <a:r>
              <a:rPr lang="en-US" sz="18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techniques </a:t>
            </a:r>
            <a:r>
              <a:rPr lang="en-US" sz="1800" dirty="0" smtClean="0"/>
              <a:t>for </a:t>
            </a:r>
            <a:r>
              <a:rPr lang="en-US" sz="1800" dirty="0"/>
              <a:t>inferencing patterns and </a:t>
            </a:r>
            <a:r>
              <a:rPr lang="en-US" sz="1800" dirty="0" smtClean="0"/>
              <a:t>learning are the basis for future research in software development analytics</a:t>
            </a: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8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 smtClean="0"/>
              <a:t>PIVoT</a:t>
            </a:r>
            <a:r>
              <a:rPr lang="en-US" dirty="0" smtClean="0"/>
              <a:t> -  Why &amp; What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Learn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rends 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95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989505045"/>
              </p:ext>
            </p:extLst>
          </p:nvPr>
        </p:nvGraphicFramePr>
        <p:xfrm>
          <a:off x="380355" y="1070373"/>
          <a:ext cx="8389643" cy="35016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80355" y="446948"/>
            <a:ext cx="3017420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2400" dirty="0" smtClean="0"/>
              <a:t>Some observations…</a:t>
            </a: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38985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0CC599C-16F2-4A70-993B-7B2D58842B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F0CC599C-16F2-4A70-993B-7B2D58842B2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31DAAA0-4A33-4686-ACCC-8AFDFB769A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931DAAA0-4A33-4686-ACCC-8AFDFB769AE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DA644478-AF89-4635-9FC1-688FD1E3367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graphicEl>
                                              <a:dgm id="{DA644478-AF89-4635-9FC1-688FD1E3367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8FB521A-7A2C-44CF-9AD3-4BB281CCA58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graphicEl>
                                              <a:dgm id="{58FB521A-7A2C-44CF-9AD3-4BB281CCA58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BE5D4F6-3F58-4F14-96E7-F7D96B3074A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graphicEl>
                                              <a:dgm id="{4BE5D4F6-3F58-4F14-96E7-F7D96B3074A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behind </a:t>
            </a:r>
            <a:r>
              <a:rPr lang="en-US" dirty="0" smtClean="0"/>
              <a:t>our work…</a:t>
            </a:r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813566334"/>
              </p:ext>
            </p:extLst>
          </p:nvPr>
        </p:nvGraphicFramePr>
        <p:xfrm>
          <a:off x="429895" y="1013460"/>
          <a:ext cx="4145280" cy="3186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511041" y="1690452"/>
            <a:ext cx="4258956" cy="265802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FFC000"/>
                </a:solidFill>
              </a:rPr>
              <a:t>Process monitoring (e.g., CMMI) standardized measurement and monitoring of software delivery in a largely technology-agnostic manner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FFC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FFC000"/>
                </a:solidFill>
              </a:rPr>
              <a:t>Process monitoring does not always provide ‘</a:t>
            </a:r>
            <a:r>
              <a:rPr lang="en-US" sz="1200" dirty="0">
                <a:solidFill>
                  <a:srgbClr val="FFC000"/>
                </a:solidFill>
              </a:rPr>
              <a:t>right warnings at the right </a:t>
            </a:r>
            <a:r>
              <a:rPr lang="en-US" sz="1200" dirty="0" smtClean="0">
                <a:solidFill>
                  <a:srgbClr val="FFC000"/>
                </a:solidFill>
              </a:rPr>
              <a:t>time’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A000"/>
                </a:solidFill>
              </a:rPr>
              <a:t>On the other hand, data generated by software development activities like version control actions, tool executions etc. provide fine-grained and “in-process” view of development. </a:t>
            </a:r>
          </a:p>
          <a:p>
            <a:endParaRPr lang="en-US" sz="1200" dirty="0">
              <a:solidFill>
                <a:srgbClr val="00A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A000"/>
                </a:solidFill>
              </a:rPr>
              <a:t>Insights can be generated near real-time, allowing proactive intervention.</a:t>
            </a:r>
          </a:p>
        </p:txBody>
      </p:sp>
    </p:spTree>
    <p:extLst>
      <p:ext uri="{BB962C8B-B14F-4D97-AF65-F5344CB8AC3E}">
        <p14:creationId xmlns:p14="http://schemas.microsoft.com/office/powerpoint/2010/main" val="3019777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PIVoT</a:t>
            </a:r>
            <a:r>
              <a:rPr lang="en-US" dirty="0" smtClean="0"/>
              <a:t> </a:t>
            </a:r>
            <a:r>
              <a:rPr lang="en-US" dirty="0" smtClean="0"/>
              <a:t>framework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876800" y="1135380"/>
            <a:ext cx="3957331" cy="11806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/>
            <a:r>
              <a:rPr lang="en-US" sz="1200" b="1" dirty="0" smtClean="0"/>
              <a:t>Framework principles</a:t>
            </a:r>
            <a:endParaRPr lang="en-US" sz="1200" dirty="0" smtClean="0"/>
          </a:p>
          <a:p>
            <a:pPr algn="l"/>
            <a:endParaRPr lang="en-US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Insights </a:t>
            </a:r>
            <a:r>
              <a:rPr lang="en-US" sz="1200" dirty="0"/>
              <a:t>are based on on-ground activity </a:t>
            </a:r>
            <a:r>
              <a:rPr lang="en-US" sz="1200" dirty="0" smtClean="0"/>
              <a:t>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Data should be collected at source of </a:t>
            </a:r>
            <a:r>
              <a:rPr lang="en-US" sz="1200" dirty="0" smtClean="0"/>
              <a:t>activities, without </a:t>
            </a:r>
            <a:r>
              <a:rPr lang="en-US" sz="1200" dirty="0"/>
              <a:t>human </a:t>
            </a:r>
            <a:r>
              <a:rPr lang="en-US" sz="1200" dirty="0" smtClean="0"/>
              <a:t>interven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Data collection should be non-invasive</a:t>
            </a:r>
            <a:endParaRPr lang="en-US" sz="1200" b="1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4876800" y="2703389"/>
            <a:ext cx="39573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/>
            <a:r>
              <a:rPr lang="en-US" sz="1200" b="1" dirty="0" smtClean="0"/>
              <a:t>Insights design approach: Outcome-oriented design</a:t>
            </a:r>
            <a:endParaRPr lang="en-US" sz="1200" dirty="0" smtClean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478387673"/>
              </p:ext>
            </p:extLst>
          </p:nvPr>
        </p:nvGraphicFramePr>
        <p:xfrm>
          <a:off x="4533900" y="3154672"/>
          <a:ext cx="4610100" cy="15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558111"/>
            <a:ext cx="4968622" cy="2547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63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IVoT</a:t>
            </a:r>
            <a:r>
              <a:rPr lang="en-US" dirty="0" smtClean="0"/>
              <a:t> project model &amp; insights</a:t>
            </a:r>
            <a:endParaRPr lang="en-US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8000" contrast="55000"/>
                    </a14:imgEffect>
                  </a14:imgLayer>
                </a14:imgProps>
              </a:ext>
            </a:extLst>
          </a:blip>
          <a:srcRect l="3667" t="36995" r="52375" b="6921"/>
          <a:stretch/>
        </p:blipFill>
        <p:spPr bwMode="auto">
          <a:xfrm>
            <a:off x="213466" y="2922894"/>
            <a:ext cx="1845930" cy="1905000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  <a:alpha val="66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pic>
      <p:pic>
        <p:nvPicPr>
          <p:cNvPr id="15" name="Picture 14" descr="Project_Model_1 - What is the Model for Software Development Projects.jpg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contrast="50000"/>
                    </a14:imgEffect>
                  </a14:imgLayer>
                </a14:imgProps>
              </a:ext>
            </a:extLst>
          </a:blip>
          <a:srcRect l="6660" t="16256" r="5385" b="26123"/>
          <a:stretch/>
        </p:blipFill>
        <p:spPr>
          <a:xfrm>
            <a:off x="2245571" y="2078887"/>
            <a:ext cx="2286000" cy="1618373"/>
          </a:xfrm>
          <a:prstGeom prst="rect">
            <a:avLst/>
          </a:prstGeom>
          <a:ln>
            <a:solidFill>
              <a:schemeClr val="accent1">
                <a:shade val="95000"/>
                <a:satMod val="105000"/>
                <a:alpha val="64000"/>
              </a:schemeClr>
            </a:solidFill>
          </a:ln>
        </p:spPr>
      </p:pic>
      <p:sp>
        <p:nvSpPr>
          <p:cNvPr id="16" name="Right Arrow 15"/>
          <p:cNvSpPr/>
          <p:nvPr/>
        </p:nvSpPr>
        <p:spPr>
          <a:xfrm rot="1653390">
            <a:off x="2044999" y="1817509"/>
            <a:ext cx="250442" cy="216024"/>
          </a:xfrm>
          <a:prstGeom prst="rightArrow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7" name="Picture 16" descr="developer-tree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8350" y="963268"/>
            <a:ext cx="1902728" cy="1779104"/>
          </a:xfrm>
          <a:prstGeom prst="rect">
            <a:avLst/>
          </a:prstGeom>
        </p:spPr>
      </p:pic>
      <p:sp>
        <p:nvSpPr>
          <p:cNvPr id="18" name="Right Arrow 17"/>
          <p:cNvSpPr/>
          <p:nvPr/>
        </p:nvSpPr>
        <p:spPr>
          <a:xfrm rot="8343248">
            <a:off x="2120350" y="3767382"/>
            <a:ext cx="250442" cy="216024"/>
          </a:xfrm>
          <a:prstGeom prst="rightArrow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9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2161718"/>
              </p:ext>
            </p:extLst>
          </p:nvPr>
        </p:nvGraphicFramePr>
        <p:xfrm>
          <a:off x="3465650" y="968813"/>
          <a:ext cx="6765452" cy="13553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12"/>
          <a:srcRect l="39352" t="57207" r="28249" b="8751"/>
          <a:stretch/>
        </p:blipFill>
        <p:spPr bwMode="auto">
          <a:xfrm>
            <a:off x="4776064" y="3711746"/>
            <a:ext cx="1554480" cy="918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13"/>
          <a:srcRect l="39628" t="56994" r="28529" b="8750"/>
          <a:stretch/>
        </p:blipFill>
        <p:spPr bwMode="auto">
          <a:xfrm>
            <a:off x="4776064" y="2609342"/>
            <a:ext cx="1554480" cy="94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14"/>
          <a:srcRect l="1239" t="30689" r="67824" b="36363"/>
          <a:stretch/>
        </p:blipFill>
        <p:spPr bwMode="auto">
          <a:xfrm>
            <a:off x="6439409" y="2609342"/>
            <a:ext cx="1554480" cy="930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22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3731"/>
          <a:stretch/>
        </p:blipFill>
        <p:spPr bwMode="auto">
          <a:xfrm>
            <a:off x="6439409" y="3711746"/>
            <a:ext cx="2540439" cy="1006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1761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25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75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Graphic spid="19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1578477590"/>
              </p:ext>
            </p:extLst>
          </p:nvPr>
        </p:nvGraphicFramePr>
        <p:xfrm>
          <a:off x="380355" y="1420238"/>
          <a:ext cx="3995789" cy="2745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Content Placeholder 5"/>
          <p:cNvGraphicFramePr>
            <a:graphicFrameLocks noGrp="1"/>
          </p:cNvGraphicFramePr>
          <p:nvPr>
            <p:ph sz="quarter" idx="20"/>
            <p:extLst>
              <p:ext uri="{D42A27DB-BD31-4B8C-83A1-F6EECF244321}">
                <p14:modId xmlns:p14="http://schemas.microsoft.com/office/powerpoint/2010/main" val="1198754527"/>
              </p:ext>
            </p:extLst>
          </p:nvPr>
        </p:nvGraphicFramePr>
        <p:xfrm>
          <a:off x="4720097" y="1420239"/>
          <a:ext cx="3998020" cy="2745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learning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872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B7D53BF-429F-446C-A339-72F7E5DDD5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FB7D53BF-429F-446C-A339-72F7E5DDD5A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0F8942E-9E69-4793-99D0-94654B3F62D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graphicEl>
                                              <a:dgm id="{B0F8942E-9E69-4793-99D0-94654B3F62D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88ED8FA-901F-441E-BE2A-35AD04DEC86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graphicEl>
                                              <a:dgm id="{388ED8FA-901F-441E-BE2A-35AD04DEC86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DC27EC24-67E8-4997-9691-0B452CCF689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graphicEl>
                                              <a:dgm id="{DC27EC24-67E8-4997-9691-0B452CCF689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8BDFE00F-DA5B-4E1E-B599-043F2DDDCC1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graphicEl>
                                              <a:dgm id="{8BDFE00F-DA5B-4E1E-B599-043F2DDDCC1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02CC0824-DCF0-411C-9DA8-1CB0E203E14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>
                                            <p:graphicEl>
                                              <a:dgm id="{02CC0824-DCF0-411C-9DA8-1CB0E203E14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  <p:bldGraphic spid="6" grpId="0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y forward – trends impacting further research in software development analytic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556260" y="1293726"/>
            <a:ext cx="3627120" cy="3430674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Large-scale distribution </a:t>
            </a:r>
            <a:r>
              <a:rPr lang="en-US" sz="1200" dirty="0"/>
              <a:t>of developers and resulting ineffectiveness of traditional </a:t>
            </a:r>
            <a:r>
              <a:rPr lang="en-US" sz="1200" dirty="0">
                <a:solidFill>
                  <a:srgbClr val="FF0000"/>
                </a:solidFill>
              </a:rPr>
              <a:t>process monitoring </a:t>
            </a:r>
            <a:r>
              <a:rPr lang="en-US" sz="1200" dirty="0"/>
              <a:t>approaches.</a:t>
            </a:r>
          </a:p>
          <a:p>
            <a:endParaRPr lang="en-US" sz="1200" dirty="0"/>
          </a:p>
          <a:p>
            <a:r>
              <a:rPr lang="en-US" sz="1200" dirty="0"/>
              <a:t>For a client-critical software project, it is essential to know how </a:t>
            </a:r>
            <a:r>
              <a:rPr lang="en-US" sz="1200" dirty="0" smtClean="0"/>
              <a:t>the ‘crowd</a:t>
            </a:r>
            <a:r>
              <a:rPr lang="en-US" sz="1200" dirty="0"/>
              <a:t>’ developers are </a:t>
            </a:r>
            <a:r>
              <a:rPr lang="en-US" sz="1200" dirty="0">
                <a:solidFill>
                  <a:srgbClr val="FF0000"/>
                </a:solidFill>
              </a:rPr>
              <a:t>adopting key practices</a:t>
            </a:r>
            <a:r>
              <a:rPr lang="en-US" sz="1200" dirty="0"/>
              <a:t> such as frequent unit testing, code quality analysis etc.</a:t>
            </a:r>
          </a:p>
          <a:p>
            <a:endParaRPr lang="en-US" sz="1200" dirty="0"/>
          </a:p>
          <a:p>
            <a:r>
              <a:rPr lang="en-US" sz="1200" dirty="0" smtClean="0">
                <a:solidFill>
                  <a:srgbClr val="FF0000"/>
                </a:solidFill>
              </a:rPr>
              <a:t>Standardization</a:t>
            </a:r>
            <a:r>
              <a:rPr lang="en-US" sz="1200" dirty="0" smtClean="0"/>
              <a:t> of the </a:t>
            </a:r>
            <a:r>
              <a:rPr lang="en-US" sz="1200" dirty="0"/>
              <a:t>development </a:t>
            </a:r>
            <a:r>
              <a:rPr lang="en-US" sz="1200" dirty="0" smtClean="0"/>
              <a:t>environment used </a:t>
            </a:r>
            <a:r>
              <a:rPr lang="en-US" sz="1200" dirty="0"/>
              <a:t>by </a:t>
            </a:r>
            <a:r>
              <a:rPr lang="en-US" sz="1200" dirty="0" smtClean="0"/>
              <a:t>crowd-developers and data collection is a challenge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Modernization of </a:t>
            </a:r>
            <a:r>
              <a:rPr lang="en-US" sz="1200" dirty="0">
                <a:solidFill>
                  <a:srgbClr val="FF0000"/>
                </a:solidFill>
              </a:rPr>
              <a:t>distributed awareness </a:t>
            </a:r>
            <a:r>
              <a:rPr lang="en-US" sz="1200" dirty="0"/>
              <a:t>techniques to handle new configuration management systems and techniques, large-scale distribution,  and offering better visualization and actions to developers is required</a:t>
            </a: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endParaRPr kumimoji="0" 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4853940" y="1293726"/>
            <a:ext cx="3627120" cy="3430674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/>
              <a:t>A big </a:t>
            </a:r>
            <a:r>
              <a:rPr lang="en-US" sz="1200" dirty="0" smtClean="0"/>
              <a:t>advantage of </a:t>
            </a:r>
            <a:r>
              <a:rPr lang="en-US" sz="1200" dirty="0"/>
              <a:t>development in the cloud, is the </a:t>
            </a:r>
            <a:r>
              <a:rPr lang="en-US" sz="1200" dirty="0" smtClean="0">
                <a:solidFill>
                  <a:srgbClr val="FF0000"/>
                </a:solidFill>
              </a:rPr>
              <a:t>automatic standardization </a:t>
            </a:r>
            <a:r>
              <a:rPr lang="en-US" sz="1200" dirty="0"/>
              <a:t>of IDEs, tools etc. </a:t>
            </a:r>
            <a:endParaRPr lang="en-US" sz="1200" dirty="0" smtClean="0"/>
          </a:p>
          <a:p>
            <a:endParaRPr lang="en-US" sz="1200" dirty="0"/>
          </a:p>
          <a:p>
            <a:r>
              <a:rPr lang="en-US" sz="1200" dirty="0" smtClean="0"/>
              <a:t>The </a:t>
            </a:r>
            <a:r>
              <a:rPr lang="en-US" sz="1200" dirty="0" smtClean="0">
                <a:solidFill>
                  <a:srgbClr val="FF0000"/>
                </a:solidFill>
              </a:rPr>
              <a:t>consistent data collection</a:t>
            </a:r>
            <a:r>
              <a:rPr lang="en-US" sz="1200" dirty="0" smtClean="0"/>
              <a:t> challenge can be </a:t>
            </a:r>
            <a:r>
              <a:rPr lang="en-US" sz="1200" dirty="0"/>
              <a:t>mitigated by </a:t>
            </a:r>
            <a:r>
              <a:rPr lang="en-US" sz="1200" dirty="0" smtClean="0"/>
              <a:t>using cloud-based IDEs.</a:t>
            </a:r>
          </a:p>
          <a:p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r>
              <a:rPr lang="en-US" sz="1200" dirty="0" smtClean="0"/>
              <a:t>Cloud </a:t>
            </a:r>
            <a:r>
              <a:rPr lang="en-US" sz="1200" dirty="0"/>
              <a:t>IDEs </a:t>
            </a:r>
            <a:r>
              <a:rPr lang="en-US" sz="1200" dirty="0" smtClean="0"/>
              <a:t>provide an </a:t>
            </a:r>
            <a:r>
              <a:rPr lang="en-US" sz="1200" dirty="0"/>
              <a:t>easy way to capture all development activities </a:t>
            </a:r>
            <a:r>
              <a:rPr lang="en-US" sz="1200" dirty="0" smtClean="0"/>
              <a:t>leading to </a:t>
            </a:r>
            <a:r>
              <a:rPr lang="en-US" sz="1200" dirty="0"/>
              <a:t>creation of better project models, better </a:t>
            </a:r>
            <a:r>
              <a:rPr lang="en-US" sz="1200" dirty="0" smtClean="0"/>
              <a:t>activity correlation </a:t>
            </a:r>
            <a:r>
              <a:rPr lang="en-US" sz="1200" dirty="0"/>
              <a:t>and </a:t>
            </a:r>
            <a:r>
              <a:rPr lang="en-US" sz="1200" dirty="0">
                <a:solidFill>
                  <a:srgbClr val="FF0000"/>
                </a:solidFill>
              </a:rPr>
              <a:t>more precise insights</a:t>
            </a:r>
            <a:r>
              <a:rPr lang="en-US" sz="1200" dirty="0"/>
              <a:t>.</a:t>
            </a:r>
            <a:endParaRPr kumimoji="0" 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14811" y="968298"/>
            <a:ext cx="291001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1600" b="1" dirty="0" smtClean="0"/>
              <a:t>Crowd sourced Developmen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12491" y="974802"/>
            <a:ext cx="2570182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1600" b="1" dirty="0" smtClean="0"/>
              <a:t>Development in the cloud</a:t>
            </a:r>
          </a:p>
        </p:txBody>
      </p:sp>
    </p:spTree>
    <p:extLst>
      <p:ext uri="{BB962C8B-B14F-4D97-AF65-F5344CB8AC3E}">
        <p14:creationId xmlns:p14="http://schemas.microsoft.com/office/powerpoint/2010/main" val="3473045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/>
      <p:bldP spid="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y forward – trends impacting further research in software development analytic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556260" y="1293726"/>
            <a:ext cx="3627120" cy="3430674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2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age of the </a:t>
            </a:r>
            <a:r>
              <a:rPr lang="en-US" sz="1200" kern="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sensors and actuators 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oT paradigm to software development leads to interesting new ways software development analytics.</a:t>
            </a: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2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“Software actuators” embedded in code can remove subjectivity in actions taken based on certain insights.</a:t>
            </a: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</a:pPr>
            <a:r>
              <a:rPr lang="en-US" sz="1200" kern="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Actuator design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, DSLs for rapid development of Actuators, </a:t>
            </a:r>
            <a:r>
              <a:rPr lang="en-US" sz="1200" kern="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esting of automated actions 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re different areas that need to mature to make full use of the IoT paradigm.</a:t>
            </a:r>
            <a:endParaRPr kumimoji="0" 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4853940" y="1293726"/>
            <a:ext cx="3627120" cy="3430674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intaining</a:t>
            </a:r>
            <a:r>
              <a:rPr kumimoji="0" lang="en-US" sz="12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relevance of insights and </a:t>
            </a:r>
            <a:r>
              <a:rPr kumimoji="0" lang="en-US" sz="1200" b="0" i="0" u="none" strike="noStrike" kern="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escribing contextual actions</a:t>
            </a:r>
            <a:r>
              <a:rPr kumimoji="0" lang="en-US" sz="12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is key for long-term adoption of a software development analytics framework.</a:t>
            </a:r>
          </a:p>
          <a:p>
            <a:endParaRPr lang="en-US" sz="1200" kern="0" baseline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kern="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Learning from human actions 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nd refining metric thresholds and actions is important.</a:t>
            </a:r>
          </a:p>
          <a:p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r>
              <a:rPr lang="en-US" sz="1200" dirty="0"/>
              <a:t>Incremental and </a:t>
            </a:r>
            <a:r>
              <a:rPr lang="en-US" sz="1200" dirty="0">
                <a:solidFill>
                  <a:srgbClr val="FF0000"/>
                </a:solidFill>
              </a:rPr>
              <a:t>adaptive learning </a:t>
            </a:r>
            <a:r>
              <a:rPr lang="en-US" sz="1200" dirty="0"/>
              <a:t>of faults and </a:t>
            </a:r>
            <a:r>
              <a:rPr lang="en-US" sz="1200" dirty="0" smtClean="0"/>
              <a:t>causality.</a:t>
            </a:r>
            <a:endParaRPr lang="en-US" sz="1200" dirty="0"/>
          </a:p>
          <a:p>
            <a:endParaRPr kumimoji="0" 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57615" y="974802"/>
            <a:ext cx="1624410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1600" b="1" dirty="0" smtClean="0"/>
              <a:t>Paradigm of Io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12491" y="974802"/>
            <a:ext cx="2421103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US" sz="1600" b="1" dirty="0" smtClean="0"/>
              <a:t>Emergence of Cognitive</a:t>
            </a:r>
          </a:p>
        </p:txBody>
      </p:sp>
    </p:spTree>
    <p:extLst>
      <p:ext uri="{BB962C8B-B14F-4D97-AF65-F5344CB8AC3E}">
        <p14:creationId xmlns:p14="http://schemas.microsoft.com/office/powerpoint/2010/main" val="4292648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  <p:tag name="ACCENTFARBEEXIST" val="0"/>
  <p:tag name="VERSION" val="V8.0"/>
  <p:tag name="VORLAGE" val="QPT_Molecules"/>
  <p:tag name="GROESSE" val="Standar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_Technology_template 16-9">
  <a:themeElements>
    <a:clrScheme name="Accenture Strategy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FF0000"/>
      </a:accent1>
      <a:accent2>
        <a:srgbClr val="359B4C"/>
      </a:accent2>
      <a:accent3>
        <a:srgbClr val="FF9900"/>
      </a:accent3>
      <a:accent4>
        <a:srgbClr val="00BBEE"/>
      </a:accent4>
      <a:accent5>
        <a:srgbClr val="993399"/>
      </a:accent5>
      <a:accent6>
        <a:srgbClr val="002266"/>
      </a:accent6>
      <a:hlink>
        <a:srgbClr val="2F539C"/>
      </a:hlink>
      <a:folHlink>
        <a:srgbClr val="992222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FECCEBC9-129D-4C28-BB2B-158E360E4604}" vid="{FEBD953E-B096-4575-A786-D76403E9B410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480F3B2C10C74BB61478E4247D6E77" ma:contentTypeVersion="6" ma:contentTypeDescription="Create a new document." ma:contentTypeScope="" ma:versionID="c0d78fb10d032f677ee678e6125f0b5f">
  <xsd:schema xmlns:xsd="http://www.w3.org/2001/XMLSchema" xmlns:xs="http://www.w3.org/2001/XMLSchema" xmlns:p="http://schemas.microsoft.com/office/2006/metadata/properties" xmlns:ns2="bc841b31-d549-43ed-bc47-0086310aa7e9" targetNamespace="http://schemas.microsoft.com/office/2006/metadata/properties" ma:root="true" ma:fieldsID="6af45a401c206ffa7d459191b05d7ac8" ns2:_="">
    <xsd:import namespace="bc841b31-d549-43ed-bc47-0086310aa7e9"/>
    <xsd:element name="properties">
      <xsd:complexType>
        <xsd:sequence>
          <xsd:element name="documentManagement">
            <xsd:complexType>
              <xsd:all>
                <xsd:element ref="ns2:Description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841b31-d549-43ed-bc47-0086310aa7e9" elementFormDefault="qualified">
    <xsd:import namespace="http://schemas.microsoft.com/office/2006/documentManagement/types"/>
    <xsd:import namespace="http://schemas.microsoft.com/office/infopath/2007/PartnerControls"/>
    <xsd:element name="Description0" ma:index="8" nillable="true" ma:displayName="Description" ma:hidden="true" ma:internalName="Description0" ma:readOnly="fals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Description0 xmlns="bc841b31-d549-43ed-bc47-0086310aa7e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D06519E-A1BD-4653-8A00-7BD154ED18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841b31-d549-43ed-bc47-0086310aa7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6263F07-070F-4AFC-BA56-3A975C43E3EF}">
  <ds:schemaRefs>
    <ds:schemaRef ds:uri="bc841b31-d549-43ed-bc47-0086310aa7e9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2A0B0A15-D2C4-411A-B12C-1F273CE2C6B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cc_Technology_template 16-9</Template>
  <TotalTime>3310</TotalTime>
  <Words>802</Words>
  <Application>Microsoft Office PowerPoint</Application>
  <PresentationFormat>On-screen Show (16:9)</PresentationFormat>
  <Paragraphs>96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Wingdings</vt:lpstr>
      <vt:lpstr>Acc_Technology_template 16-9</vt:lpstr>
      <vt:lpstr>think-cell Slide</vt:lpstr>
      <vt:lpstr>Software Development Analytics: Our Experiences and the Way Forward</vt:lpstr>
      <vt:lpstr>Agenda</vt:lpstr>
      <vt:lpstr>PowerPoint Presentation</vt:lpstr>
      <vt:lpstr>Motivation behind our work…</vt:lpstr>
      <vt:lpstr>PIVoT framework</vt:lpstr>
      <vt:lpstr>PIVoT project model &amp; insights</vt:lpstr>
      <vt:lpstr>Key learnings</vt:lpstr>
      <vt:lpstr>Way forward – trends impacting further research in software development analytics</vt:lpstr>
      <vt:lpstr>Way forward – trends impacting further research in software development analytics</vt:lpstr>
      <vt:lpstr>Summary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krant kaulgud</dc:creator>
  <dc:description>Accenture</dc:description>
  <cp:lastModifiedBy>Vibhu sharma</cp:lastModifiedBy>
  <cp:revision>244</cp:revision>
  <dcterms:created xsi:type="dcterms:W3CDTF">2015-07-26T12:40:29Z</dcterms:created>
  <dcterms:modified xsi:type="dcterms:W3CDTF">2015-11-09T15:0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480F3B2C10C74BB61478E4247D6E77</vt:lpwstr>
  </property>
</Properties>
</file>